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6"/>
  </p:notesMasterIdLst>
  <p:sldIdLst>
    <p:sldId id="1428" r:id="rId2"/>
    <p:sldId id="1551" r:id="rId3"/>
    <p:sldId id="1552" r:id="rId4"/>
    <p:sldId id="1922" r:id="rId5"/>
    <p:sldId id="1925" r:id="rId6"/>
    <p:sldId id="1924" r:id="rId7"/>
    <p:sldId id="1907" r:id="rId8"/>
    <p:sldId id="1927" r:id="rId9"/>
    <p:sldId id="1928" r:id="rId10"/>
    <p:sldId id="1929" r:id="rId11"/>
    <p:sldId id="1930" r:id="rId12"/>
    <p:sldId id="1931" r:id="rId13"/>
    <p:sldId id="1932" r:id="rId14"/>
    <p:sldId id="1933" r:id="rId15"/>
    <p:sldId id="1934" r:id="rId16"/>
    <p:sldId id="1935" r:id="rId17"/>
    <p:sldId id="1936" r:id="rId18"/>
    <p:sldId id="1937" r:id="rId19"/>
    <p:sldId id="1938" r:id="rId20"/>
    <p:sldId id="1939" r:id="rId21"/>
    <p:sldId id="1940" r:id="rId22"/>
    <p:sldId id="1941" r:id="rId23"/>
    <p:sldId id="1942" r:id="rId24"/>
    <p:sldId id="1474" r:id="rId25"/>
    <p:sldId id="1481" r:id="rId26"/>
    <p:sldId id="1482" r:id="rId27"/>
    <p:sldId id="1475" r:id="rId28"/>
    <p:sldId id="1483" r:id="rId29"/>
    <p:sldId id="1923" r:id="rId30"/>
    <p:sldId id="1476" r:id="rId31"/>
    <p:sldId id="1523" r:id="rId32"/>
    <p:sldId id="1524" r:id="rId33"/>
    <p:sldId id="1595" r:id="rId34"/>
    <p:sldId id="1639" r:id="rId35"/>
    <p:sldId id="1802" r:id="rId36"/>
    <p:sldId id="1829" r:id="rId37"/>
    <p:sldId id="1823" r:id="rId38"/>
    <p:sldId id="1845" r:id="rId39"/>
    <p:sldId id="1864" r:id="rId40"/>
    <p:sldId id="1866" r:id="rId41"/>
    <p:sldId id="1886" r:id="rId42"/>
    <p:sldId id="1528" r:id="rId43"/>
    <p:sldId id="1530" r:id="rId44"/>
    <p:sldId id="1571" r:id="rId45"/>
    <p:sldId id="1572" r:id="rId46"/>
    <p:sldId id="1596" r:id="rId47"/>
    <p:sldId id="1615" r:id="rId48"/>
    <p:sldId id="1617" r:id="rId49"/>
    <p:sldId id="1641" r:id="rId50"/>
    <p:sldId id="1784" r:id="rId51"/>
    <p:sldId id="1804" r:id="rId52"/>
    <p:sldId id="1888" r:id="rId53"/>
    <p:sldId id="1592" r:id="rId54"/>
    <p:sldId id="1593" r:id="rId5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9966"/>
    <a:srgbClr val="FF9933"/>
    <a:srgbClr val="00B0F0"/>
    <a:srgbClr val="BFBFBF"/>
    <a:srgbClr val="A6A6A6"/>
    <a:srgbClr val="7F7F7F"/>
    <a:srgbClr val="8053F0"/>
    <a:srgbClr val="300C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T$1</c:f>
              <c:strCache>
                <c:ptCount val="19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</c:strCache>
            </c:strRef>
          </c:cat>
          <c:val>
            <c:numRef>
              <c:f>List1!$B$2:$T$2</c:f>
              <c:numCache>
                <c:formatCode>General</c:formatCode>
                <c:ptCount val="19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58</c:v>
                </c:pt>
                <c:pt idx="18">
                  <c:v>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600000000000004</c:v>
                </c:pt>
                <c:pt idx="1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nakažený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B$2:$B$445</c:f>
              <c:numCache>
                <c:formatCode>General</c:formatCode>
                <c:ptCount val="44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0</c:v>
                </c:pt>
                <c:pt idx="31">
                  <c:v>160</c:v>
                </c:pt>
                <c:pt idx="32">
                  <c:v>196</c:v>
                </c:pt>
                <c:pt idx="33">
                  <c:v>250</c:v>
                </c:pt>
                <c:pt idx="34">
                  <c:v>390</c:v>
                </c:pt>
                <c:pt idx="35">
                  <c:v>472</c:v>
                </c:pt>
                <c:pt idx="36">
                  <c:v>517</c:v>
                </c:pt>
                <c:pt idx="37">
                  <c:v>595</c:v>
                </c:pt>
                <c:pt idx="38">
                  <c:v>734</c:v>
                </c:pt>
                <c:pt idx="39">
                  <c:v>764</c:v>
                </c:pt>
                <c:pt idx="40">
                  <c:v>775</c:v>
                </c:pt>
                <c:pt idx="41">
                  <c:v>913</c:v>
                </c:pt>
                <c:pt idx="42">
                  <c:v>1135</c:v>
                </c:pt>
                <c:pt idx="43">
                  <c:v>1316</c:v>
                </c:pt>
                <c:pt idx="44">
                  <c:v>1506</c:v>
                </c:pt>
                <c:pt idx="45">
                  <c:v>1711</c:v>
                </c:pt>
                <c:pt idx="46">
                  <c:v>1866</c:v>
                </c:pt>
                <c:pt idx="47">
                  <c:v>1907</c:v>
                </c:pt>
                <c:pt idx="48">
                  <c:v>2149</c:v>
                </c:pt>
                <c:pt idx="49">
                  <c:v>2345</c:v>
                </c:pt>
                <c:pt idx="50">
                  <c:v>2671</c:v>
                </c:pt>
                <c:pt idx="51">
                  <c:v>2897</c:v>
                </c:pt>
                <c:pt idx="52">
                  <c:v>3312</c:v>
                </c:pt>
                <c:pt idx="53">
                  <c:v>3539</c:v>
                </c:pt>
                <c:pt idx="54">
                  <c:v>3733</c:v>
                </c:pt>
                <c:pt idx="55">
                  <c:v>4120</c:v>
                </c:pt>
                <c:pt idx="56">
                  <c:v>4641</c:v>
                </c:pt>
                <c:pt idx="57">
                  <c:v>4901</c:v>
                </c:pt>
                <c:pt idx="58">
                  <c:v>5436</c:v>
                </c:pt>
                <c:pt idx="59">
                  <c:v>6023</c:v>
                </c:pt>
                <c:pt idx="60">
                  <c:v>6359</c:v>
                </c:pt>
                <c:pt idx="61">
                  <c:v>6571</c:v>
                </c:pt>
                <c:pt idx="62">
                  <c:v>6902</c:v>
                </c:pt>
                <c:pt idx="63">
                  <c:v>7234</c:v>
                </c:pt>
                <c:pt idx="64">
                  <c:v>7658</c:v>
                </c:pt>
                <c:pt idx="65">
                  <c:v>8191</c:v>
                </c:pt>
                <c:pt idx="66">
                  <c:v>8678</c:v>
                </c:pt>
                <c:pt idx="67">
                  <c:v>8892</c:v>
                </c:pt>
                <c:pt idx="68">
                  <c:v>8970</c:v>
                </c:pt>
                <c:pt idx="69">
                  <c:v>9172</c:v>
                </c:pt>
                <c:pt idx="70">
                  <c:v>9557</c:v>
                </c:pt>
                <c:pt idx="71">
                  <c:v>10232</c:v>
                </c:pt>
                <c:pt idx="72">
                  <c:v>10730</c:v>
                </c:pt>
                <c:pt idx="73">
                  <c:v>11210</c:v>
                </c:pt>
                <c:pt idx="74">
                  <c:v>11389</c:v>
                </c:pt>
                <c:pt idx="75">
                  <c:v>11553</c:v>
                </c:pt>
                <c:pt idx="76">
                  <c:v>11934</c:v>
                </c:pt>
                <c:pt idx="77">
                  <c:v>12071</c:v>
                </c:pt>
                <c:pt idx="78">
                  <c:v>12340</c:v>
                </c:pt>
                <c:pt idx="79">
                  <c:v>12609</c:v>
                </c:pt>
                <c:pt idx="80">
                  <c:v>12847</c:v>
                </c:pt>
                <c:pt idx="81">
                  <c:v>12941</c:v>
                </c:pt>
                <c:pt idx="82">
                  <c:v>13032</c:v>
                </c:pt>
                <c:pt idx="83">
                  <c:v>13411</c:v>
                </c:pt>
                <c:pt idx="84">
                  <c:v>13609</c:v>
                </c:pt>
                <c:pt idx="85">
                  <c:v>13733</c:v>
                </c:pt>
                <c:pt idx="86">
                  <c:v>13927</c:v>
                </c:pt>
                <c:pt idx="87">
                  <c:v>14066</c:v>
                </c:pt>
                <c:pt idx="88">
                  <c:v>14144</c:v>
                </c:pt>
                <c:pt idx="89">
                  <c:v>14172</c:v>
                </c:pt>
                <c:pt idx="90">
                  <c:v>14387</c:v>
                </c:pt>
                <c:pt idx="91">
                  <c:v>14510</c:v>
                </c:pt>
                <c:pt idx="92">
                  <c:v>14642</c:v>
                </c:pt>
                <c:pt idx="93">
                  <c:v>14774</c:v>
                </c:pt>
                <c:pt idx="94">
                  <c:v>14914</c:v>
                </c:pt>
                <c:pt idx="95">
                  <c:v>15002</c:v>
                </c:pt>
                <c:pt idx="96">
                  <c:v>15022</c:v>
                </c:pt>
                <c:pt idx="97">
                  <c:v>15164</c:v>
                </c:pt>
                <c:pt idx="98">
                  <c:v>15253</c:v>
                </c:pt>
                <c:pt idx="99">
                  <c:v>15394</c:v>
                </c:pt>
                <c:pt idx="100">
                  <c:v>15477</c:v>
                </c:pt>
                <c:pt idx="101">
                  <c:v>15707</c:v>
                </c:pt>
                <c:pt idx="102">
                  <c:v>15774</c:v>
                </c:pt>
                <c:pt idx="103">
                  <c:v>15824</c:v>
                </c:pt>
                <c:pt idx="104">
                  <c:v>15972</c:v>
                </c:pt>
                <c:pt idx="105">
                  <c:v>16105</c:v>
                </c:pt>
                <c:pt idx="106">
                  <c:v>16205</c:v>
                </c:pt>
                <c:pt idx="107">
                  <c:v>16273</c:v>
                </c:pt>
                <c:pt idx="108">
                  <c:v>16496</c:v>
                </c:pt>
                <c:pt idx="109">
                  <c:v>16556</c:v>
                </c:pt>
                <c:pt idx="110">
                  <c:v>16577</c:v>
                </c:pt>
                <c:pt idx="111">
                  <c:v>16756</c:v>
                </c:pt>
                <c:pt idx="112">
                  <c:v>16930</c:v>
                </c:pt>
                <c:pt idx="113">
                  <c:v>17052</c:v>
                </c:pt>
                <c:pt idx="114">
                  <c:v>17070</c:v>
                </c:pt>
                <c:pt idx="115">
                  <c:v>17141</c:v>
                </c:pt>
                <c:pt idx="116">
                  <c:v>17218</c:v>
                </c:pt>
                <c:pt idx="117">
                  <c:v>17315</c:v>
                </c:pt>
                <c:pt idx="118">
                  <c:v>17480</c:v>
                </c:pt>
                <c:pt idx="119">
                  <c:v>17665</c:v>
                </c:pt>
                <c:pt idx="120">
                  <c:v>17809</c:v>
                </c:pt>
                <c:pt idx="121">
                  <c:v>17942</c:v>
                </c:pt>
                <c:pt idx="122">
                  <c:v>18007</c:v>
                </c:pt>
                <c:pt idx="123">
                  <c:v>18066</c:v>
                </c:pt>
                <c:pt idx="124">
                  <c:v>18107</c:v>
                </c:pt>
                <c:pt idx="125">
                  <c:v>18375</c:v>
                </c:pt>
                <c:pt idx="126">
                  <c:v>18527</c:v>
                </c:pt>
                <c:pt idx="127">
                  <c:v>18691</c:v>
                </c:pt>
                <c:pt idx="128">
                  <c:v>18923</c:v>
                </c:pt>
                <c:pt idx="129">
                  <c:v>19107</c:v>
                </c:pt>
                <c:pt idx="130">
                  <c:v>19168</c:v>
                </c:pt>
                <c:pt idx="131">
                  <c:v>19197</c:v>
                </c:pt>
                <c:pt idx="132">
                  <c:v>19435</c:v>
                </c:pt>
                <c:pt idx="133">
                  <c:v>19561</c:v>
                </c:pt>
                <c:pt idx="134">
                  <c:v>19736</c:v>
                </c:pt>
                <c:pt idx="135">
                  <c:v>19833</c:v>
                </c:pt>
                <c:pt idx="136">
                  <c:v>19918</c:v>
                </c:pt>
                <c:pt idx="137">
                  <c:v>19953</c:v>
                </c:pt>
                <c:pt idx="138">
                  <c:v>19998</c:v>
                </c:pt>
                <c:pt idx="139">
                  <c:v>20159</c:v>
                </c:pt>
                <c:pt idx="140">
                  <c:v>20237</c:v>
                </c:pt>
                <c:pt idx="141">
                  <c:v>20383</c:v>
                </c:pt>
                <c:pt idx="142">
                  <c:v>20489</c:v>
                </c:pt>
                <c:pt idx="143">
                  <c:v>20603</c:v>
                </c:pt>
                <c:pt idx="144">
                  <c:v>20656</c:v>
                </c:pt>
                <c:pt idx="145">
                  <c:v>20680</c:v>
                </c:pt>
                <c:pt idx="146">
                  <c:v>20765</c:v>
                </c:pt>
                <c:pt idx="147">
                  <c:v>20806</c:v>
                </c:pt>
                <c:pt idx="148">
                  <c:v>20900</c:v>
                </c:pt>
                <c:pt idx="149">
                  <c:v>20966</c:v>
                </c:pt>
                <c:pt idx="150">
                  <c:v>21003</c:v>
                </c:pt>
                <c:pt idx="151">
                  <c:v>21052</c:v>
                </c:pt>
                <c:pt idx="152">
                  <c:v>21061</c:v>
                </c:pt>
                <c:pt idx="153">
                  <c:v>21166</c:v>
                </c:pt>
                <c:pt idx="154">
                  <c:v>21260</c:v>
                </c:pt>
                <c:pt idx="155">
                  <c:v>21362</c:v>
                </c:pt>
                <c:pt idx="156">
                  <c:v>21444</c:v>
                </c:pt>
                <c:pt idx="157">
                  <c:v>21528</c:v>
                </c:pt>
                <c:pt idx="158">
                  <c:v>21570</c:v>
                </c:pt>
                <c:pt idx="159">
                  <c:v>21586</c:v>
                </c:pt>
                <c:pt idx="160">
                  <c:v>21649</c:v>
                </c:pt>
                <c:pt idx="161">
                  <c:v>21714</c:v>
                </c:pt>
                <c:pt idx="162">
                  <c:v>21781</c:v>
                </c:pt>
                <c:pt idx="163">
                  <c:v>21846</c:v>
                </c:pt>
                <c:pt idx="164">
                  <c:v>21898</c:v>
                </c:pt>
                <c:pt idx="165">
                  <c:v>21906</c:v>
                </c:pt>
                <c:pt idx="166">
                  <c:v>21919</c:v>
                </c:pt>
                <c:pt idx="167">
                  <c:v>21956</c:v>
                </c:pt>
                <c:pt idx="168">
                  <c:v>21974</c:v>
                </c:pt>
                <c:pt idx="169">
                  <c:v>22004</c:v>
                </c:pt>
                <c:pt idx="170">
                  <c:v>22031</c:v>
                </c:pt>
                <c:pt idx="171">
                  <c:v>22057</c:v>
                </c:pt>
                <c:pt idx="172">
                  <c:v>22075</c:v>
                </c:pt>
                <c:pt idx="173">
                  <c:v>22080</c:v>
                </c:pt>
                <c:pt idx="174">
                  <c:v>22170</c:v>
                </c:pt>
                <c:pt idx="175">
                  <c:v>22205</c:v>
                </c:pt>
                <c:pt idx="176">
                  <c:v>22239</c:v>
                </c:pt>
                <c:pt idx="177">
                  <c:v>22285</c:v>
                </c:pt>
                <c:pt idx="178">
                  <c:v>22331</c:v>
                </c:pt>
                <c:pt idx="179">
                  <c:v>22340</c:v>
                </c:pt>
                <c:pt idx="180">
                  <c:v>22343</c:v>
                </c:pt>
                <c:pt idx="181">
                  <c:v>22421</c:v>
                </c:pt>
                <c:pt idx="182">
                  <c:v>22449</c:v>
                </c:pt>
                <c:pt idx="183">
                  <c:v>22495</c:v>
                </c:pt>
                <c:pt idx="184">
                  <c:v>22504</c:v>
                </c:pt>
                <c:pt idx="185">
                  <c:v>22526</c:v>
                </c:pt>
                <c:pt idx="186">
                  <c:v>22531</c:v>
                </c:pt>
                <c:pt idx="187">
                  <c:v>22536</c:v>
                </c:pt>
                <c:pt idx="188">
                  <c:v>22563</c:v>
                </c:pt>
                <c:pt idx="189">
                  <c:v>22634</c:v>
                </c:pt>
                <c:pt idx="190">
                  <c:v>22689</c:v>
                </c:pt>
                <c:pt idx="191">
                  <c:v>22701</c:v>
                </c:pt>
                <c:pt idx="192">
                  <c:v>22726</c:v>
                </c:pt>
                <c:pt idx="193">
                  <c:v>22735</c:v>
                </c:pt>
                <c:pt idx="194">
                  <c:v>22741</c:v>
                </c:pt>
                <c:pt idx="195">
                  <c:v>22767</c:v>
                </c:pt>
                <c:pt idx="196">
                  <c:v>22787</c:v>
                </c:pt>
                <c:pt idx="197">
                  <c:v>22794</c:v>
                </c:pt>
                <c:pt idx="198">
                  <c:v>22831</c:v>
                </c:pt>
                <c:pt idx="199">
                  <c:v>22849</c:v>
                </c:pt>
                <c:pt idx="200">
                  <c:v>22858</c:v>
                </c:pt>
                <c:pt idx="201">
                  <c:v>22862</c:v>
                </c:pt>
                <c:pt idx="202">
                  <c:v>22876</c:v>
                </c:pt>
                <c:pt idx="203">
                  <c:v>22905</c:v>
                </c:pt>
                <c:pt idx="204">
                  <c:v>22924</c:v>
                </c:pt>
                <c:pt idx="205">
                  <c:v>22955</c:v>
                </c:pt>
                <c:pt idx="206">
                  <c:v>22961</c:v>
                </c:pt>
                <c:pt idx="207">
                  <c:v>22964</c:v>
                </c:pt>
                <c:pt idx="208">
                  <c:v>22968</c:v>
                </c:pt>
                <c:pt idx="209">
                  <c:v>22989</c:v>
                </c:pt>
                <c:pt idx="210">
                  <c:v>22999</c:v>
                </c:pt>
                <c:pt idx="211">
                  <c:v>23008</c:v>
                </c:pt>
                <c:pt idx="212">
                  <c:v>23017</c:v>
                </c:pt>
                <c:pt idx="213">
                  <c:v>23020</c:v>
                </c:pt>
                <c:pt idx="214">
                  <c:v>23023</c:v>
                </c:pt>
                <c:pt idx="215">
                  <c:v>23026</c:v>
                </c:pt>
                <c:pt idx="216">
                  <c:v>23027</c:v>
                </c:pt>
                <c:pt idx="217">
                  <c:v>23032</c:v>
                </c:pt>
                <c:pt idx="218">
                  <c:v>23050</c:v>
                </c:pt>
                <c:pt idx="219">
                  <c:v>23051</c:v>
                </c:pt>
                <c:pt idx="220">
                  <c:v>23054</c:v>
                </c:pt>
                <c:pt idx="221">
                  <c:v>23055</c:v>
                </c:pt>
                <c:pt idx="222">
                  <c:v>23055</c:v>
                </c:pt>
                <c:pt idx="223">
                  <c:v>23055</c:v>
                </c:pt>
                <c:pt idx="224">
                  <c:v>23057</c:v>
                </c:pt>
                <c:pt idx="225">
                  <c:v>23058</c:v>
                </c:pt>
                <c:pt idx="226">
                  <c:v>23061</c:v>
                </c:pt>
                <c:pt idx="227">
                  <c:v>23062</c:v>
                </c:pt>
                <c:pt idx="228">
                  <c:v>23063</c:v>
                </c:pt>
                <c:pt idx="229">
                  <c:v>23064</c:v>
                </c:pt>
                <c:pt idx="230">
                  <c:v>23069</c:v>
                </c:pt>
                <c:pt idx="231">
                  <c:v>23073</c:v>
                </c:pt>
                <c:pt idx="232">
                  <c:v>23076</c:v>
                </c:pt>
                <c:pt idx="233">
                  <c:v>23085</c:v>
                </c:pt>
                <c:pt idx="234">
                  <c:v>23088</c:v>
                </c:pt>
                <c:pt idx="235">
                  <c:v>23089</c:v>
                </c:pt>
                <c:pt idx="236">
                  <c:v>23089</c:v>
                </c:pt>
                <c:pt idx="237">
                  <c:v>23090</c:v>
                </c:pt>
                <c:pt idx="238">
                  <c:v>23093</c:v>
                </c:pt>
                <c:pt idx="239">
                  <c:v>23093</c:v>
                </c:pt>
                <c:pt idx="240">
                  <c:v>23095</c:v>
                </c:pt>
                <c:pt idx="241">
                  <c:v>23096</c:v>
                </c:pt>
                <c:pt idx="242">
                  <c:v>23096</c:v>
                </c:pt>
                <c:pt idx="243">
                  <c:v>23096</c:v>
                </c:pt>
                <c:pt idx="244">
                  <c:v>23096</c:v>
                </c:pt>
                <c:pt idx="245">
                  <c:v>23096</c:v>
                </c:pt>
                <c:pt idx="246">
                  <c:v>23098</c:v>
                </c:pt>
                <c:pt idx="247">
                  <c:v>23098</c:v>
                </c:pt>
                <c:pt idx="248">
                  <c:v>23099</c:v>
                </c:pt>
                <c:pt idx="249">
                  <c:v>23099</c:v>
                </c:pt>
                <c:pt idx="250">
                  <c:v>23102</c:v>
                </c:pt>
                <c:pt idx="251">
                  <c:v>23107</c:v>
                </c:pt>
                <c:pt idx="252">
                  <c:v>23109</c:v>
                </c:pt>
                <c:pt idx="253">
                  <c:v>23109</c:v>
                </c:pt>
                <c:pt idx="254">
                  <c:v>23111</c:v>
                </c:pt>
                <c:pt idx="255">
                  <c:v>23114</c:v>
                </c:pt>
                <c:pt idx="256">
                  <c:v>23115</c:v>
                </c:pt>
                <c:pt idx="257">
                  <c:v>23115</c:v>
                </c:pt>
                <c:pt idx="258">
                  <c:v>23118</c:v>
                </c:pt>
                <c:pt idx="259">
                  <c:v>23118</c:v>
                </c:pt>
                <c:pt idx="260">
                  <c:v>23120</c:v>
                </c:pt>
                <c:pt idx="261">
                  <c:v>23120</c:v>
                </c:pt>
                <c:pt idx="262">
                  <c:v>23120</c:v>
                </c:pt>
                <c:pt idx="263">
                  <c:v>23120</c:v>
                </c:pt>
                <c:pt idx="264">
                  <c:v>23120</c:v>
                </c:pt>
                <c:pt idx="265">
                  <c:v>23122</c:v>
                </c:pt>
                <c:pt idx="266">
                  <c:v>23122</c:v>
                </c:pt>
                <c:pt idx="267">
                  <c:v>23122</c:v>
                </c:pt>
                <c:pt idx="268">
                  <c:v>23122</c:v>
                </c:pt>
                <c:pt idx="269">
                  <c:v>23122</c:v>
                </c:pt>
                <c:pt idx="270">
                  <c:v>23122</c:v>
                </c:pt>
                <c:pt idx="271">
                  <c:v>23122</c:v>
                </c:pt>
                <c:pt idx="272">
                  <c:v>23122</c:v>
                </c:pt>
                <c:pt idx="273">
                  <c:v>23122</c:v>
                </c:pt>
                <c:pt idx="274">
                  <c:v>23125</c:v>
                </c:pt>
                <c:pt idx="275">
                  <c:v>23126</c:v>
                </c:pt>
                <c:pt idx="276">
                  <c:v>23126</c:v>
                </c:pt>
                <c:pt idx="277">
                  <c:v>23126</c:v>
                </c:pt>
                <c:pt idx="278">
                  <c:v>23126</c:v>
                </c:pt>
                <c:pt idx="279">
                  <c:v>23126</c:v>
                </c:pt>
                <c:pt idx="280">
                  <c:v>23126</c:v>
                </c:pt>
                <c:pt idx="281">
                  <c:v>23126</c:v>
                </c:pt>
                <c:pt idx="282">
                  <c:v>23126</c:v>
                </c:pt>
                <c:pt idx="283">
                  <c:v>23127</c:v>
                </c:pt>
                <c:pt idx="284">
                  <c:v>23127</c:v>
                </c:pt>
                <c:pt idx="285">
                  <c:v>23127</c:v>
                </c:pt>
                <c:pt idx="286">
                  <c:v>23127</c:v>
                </c:pt>
                <c:pt idx="287">
                  <c:v>23127</c:v>
                </c:pt>
                <c:pt idx="288">
                  <c:v>23127</c:v>
                </c:pt>
                <c:pt idx="289">
                  <c:v>23128</c:v>
                </c:pt>
                <c:pt idx="290">
                  <c:v>23128</c:v>
                </c:pt>
                <c:pt idx="291">
                  <c:v>23128</c:v>
                </c:pt>
                <c:pt idx="292">
                  <c:v>23128</c:v>
                </c:pt>
                <c:pt idx="293">
                  <c:v>23128</c:v>
                </c:pt>
                <c:pt idx="294">
                  <c:v>23128</c:v>
                </c:pt>
                <c:pt idx="295">
                  <c:v>23129</c:v>
                </c:pt>
                <c:pt idx="296">
                  <c:v>23130</c:v>
                </c:pt>
                <c:pt idx="297">
                  <c:v>23130</c:v>
                </c:pt>
                <c:pt idx="298">
                  <c:v>23130</c:v>
                </c:pt>
                <c:pt idx="299">
                  <c:v>23130</c:v>
                </c:pt>
                <c:pt idx="300">
                  <c:v>23130</c:v>
                </c:pt>
                <c:pt idx="301">
                  <c:v>23130</c:v>
                </c:pt>
                <c:pt idx="302">
                  <c:v>23130</c:v>
                </c:pt>
                <c:pt idx="303">
                  <c:v>23131</c:v>
                </c:pt>
                <c:pt idx="304">
                  <c:v>23131</c:v>
                </c:pt>
                <c:pt idx="305">
                  <c:v>23131</c:v>
                </c:pt>
                <c:pt idx="306">
                  <c:v>23132</c:v>
                </c:pt>
                <c:pt idx="307">
                  <c:v>23132</c:v>
                </c:pt>
                <c:pt idx="308">
                  <c:v>23132</c:v>
                </c:pt>
                <c:pt idx="309">
                  <c:v>23132</c:v>
                </c:pt>
                <c:pt idx="310">
                  <c:v>23133</c:v>
                </c:pt>
                <c:pt idx="311">
                  <c:v>23133</c:v>
                </c:pt>
                <c:pt idx="312">
                  <c:v>23133</c:v>
                </c:pt>
                <c:pt idx="313">
                  <c:v>23133</c:v>
                </c:pt>
                <c:pt idx="314">
                  <c:v>23133</c:v>
                </c:pt>
                <c:pt idx="315">
                  <c:v>23133</c:v>
                </c:pt>
                <c:pt idx="316">
                  <c:v>23133</c:v>
                </c:pt>
                <c:pt idx="317">
                  <c:v>23133</c:v>
                </c:pt>
                <c:pt idx="318">
                  <c:v>23133</c:v>
                </c:pt>
                <c:pt idx="319">
                  <c:v>23133</c:v>
                </c:pt>
                <c:pt idx="320">
                  <c:v>23133</c:v>
                </c:pt>
                <c:pt idx="321">
                  <c:v>23133</c:v>
                </c:pt>
                <c:pt idx="322">
                  <c:v>23133</c:v>
                </c:pt>
                <c:pt idx="323">
                  <c:v>23133</c:v>
                </c:pt>
                <c:pt idx="324">
                  <c:v>23133</c:v>
                </c:pt>
                <c:pt idx="325">
                  <c:v>23133</c:v>
                </c:pt>
                <c:pt idx="326">
                  <c:v>23134</c:v>
                </c:pt>
                <c:pt idx="327">
                  <c:v>23134</c:v>
                </c:pt>
                <c:pt idx="328">
                  <c:v>23134</c:v>
                </c:pt>
                <c:pt idx="329">
                  <c:v>23134</c:v>
                </c:pt>
                <c:pt idx="330">
                  <c:v>23134</c:v>
                </c:pt>
                <c:pt idx="331">
                  <c:v>23134</c:v>
                </c:pt>
                <c:pt idx="332">
                  <c:v>23134</c:v>
                </c:pt>
                <c:pt idx="333">
                  <c:v>23134</c:v>
                </c:pt>
                <c:pt idx="334">
                  <c:v>23134</c:v>
                </c:pt>
                <c:pt idx="335">
                  <c:v>23134</c:v>
                </c:pt>
                <c:pt idx="336">
                  <c:v>23134</c:v>
                </c:pt>
                <c:pt idx="337">
                  <c:v>23134</c:v>
                </c:pt>
                <c:pt idx="338">
                  <c:v>23134</c:v>
                </c:pt>
                <c:pt idx="339">
                  <c:v>23134</c:v>
                </c:pt>
                <c:pt idx="340">
                  <c:v>23134</c:v>
                </c:pt>
                <c:pt idx="341">
                  <c:v>23134</c:v>
                </c:pt>
                <c:pt idx="342">
                  <c:v>23134</c:v>
                </c:pt>
                <c:pt idx="343">
                  <c:v>23134</c:v>
                </c:pt>
                <c:pt idx="344">
                  <c:v>23134</c:v>
                </c:pt>
                <c:pt idx="345">
                  <c:v>23134</c:v>
                </c:pt>
                <c:pt idx="346">
                  <c:v>23134</c:v>
                </c:pt>
                <c:pt idx="347">
                  <c:v>23134</c:v>
                </c:pt>
                <c:pt idx="348">
                  <c:v>23134</c:v>
                </c:pt>
                <c:pt idx="349">
                  <c:v>23135</c:v>
                </c:pt>
                <c:pt idx="350">
                  <c:v>23136</c:v>
                </c:pt>
                <c:pt idx="351">
                  <c:v>23136</c:v>
                </c:pt>
                <c:pt idx="352">
                  <c:v>23137</c:v>
                </c:pt>
                <c:pt idx="353">
                  <c:v>23137</c:v>
                </c:pt>
                <c:pt idx="354">
                  <c:v>23137</c:v>
                </c:pt>
                <c:pt idx="355">
                  <c:v>23137</c:v>
                </c:pt>
                <c:pt idx="356">
                  <c:v>23139</c:v>
                </c:pt>
                <c:pt idx="357">
                  <c:v>23139</c:v>
                </c:pt>
                <c:pt idx="358">
                  <c:v>23139</c:v>
                </c:pt>
                <c:pt idx="359">
                  <c:v>23139</c:v>
                </c:pt>
                <c:pt idx="360">
                  <c:v>23139</c:v>
                </c:pt>
                <c:pt idx="361">
                  <c:v>23139</c:v>
                </c:pt>
                <c:pt idx="362">
                  <c:v>23139</c:v>
                </c:pt>
                <c:pt idx="363">
                  <c:v>23139</c:v>
                </c:pt>
                <c:pt idx="364">
                  <c:v>23139</c:v>
                </c:pt>
                <c:pt idx="365">
                  <c:v>23140</c:v>
                </c:pt>
                <c:pt idx="366">
                  <c:v>23144</c:v>
                </c:pt>
                <c:pt idx="367">
                  <c:v>23146</c:v>
                </c:pt>
                <c:pt idx="368">
                  <c:v>23147</c:v>
                </c:pt>
                <c:pt idx="369">
                  <c:v>23147</c:v>
                </c:pt>
                <c:pt idx="370">
                  <c:v>23151</c:v>
                </c:pt>
                <c:pt idx="371">
                  <c:v>23151</c:v>
                </c:pt>
                <c:pt idx="372">
                  <c:v>23151</c:v>
                </c:pt>
                <c:pt idx="373">
                  <c:v>23152</c:v>
                </c:pt>
                <c:pt idx="374">
                  <c:v>23152</c:v>
                </c:pt>
                <c:pt idx="375">
                  <c:v>23152</c:v>
                </c:pt>
                <c:pt idx="376">
                  <c:v>23152</c:v>
                </c:pt>
                <c:pt idx="377">
                  <c:v>23153</c:v>
                </c:pt>
                <c:pt idx="378">
                  <c:v>23153</c:v>
                </c:pt>
                <c:pt idx="379">
                  <c:v>23153</c:v>
                </c:pt>
                <c:pt idx="380">
                  <c:v>23153</c:v>
                </c:pt>
                <c:pt idx="381">
                  <c:v>23153</c:v>
                </c:pt>
                <c:pt idx="382">
                  <c:v>23153</c:v>
                </c:pt>
                <c:pt idx="383">
                  <c:v>23153</c:v>
                </c:pt>
                <c:pt idx="384">
                  <c:v>23154</c:v>
                </c:pt>
                <c:pt idx="385">
                  <c:v>23157</c:v>
                </c:pt>
                <c:pt idx="386">
                  <c:v>23158</c:v>
                </c:pt>
                <c:pt idx="387">
                  <c:v>23158</c:v>
                </c:pt>
                <c:pt idx="388">
                  <c:v>23158</c:v>
                </c:pt>
                <c:pt idx="389">
                  <c:v>23158</c:v>
                </c:pt>
                <c:pt idx="390">
                  <c:v>23158</c:v>
                </c:pt>
                <c:pt idx="391">
                  <c:v>23160</c:v>
                </c:pt>
                <c:pt idx="392">
                  <c:v>23160</c:v>
                </c:pt>
                <c:pt idx="393">
                  <c:v>23161</c:v>
                </c:pt>
                <c:pt idx="394">
                  <c:v>23161</c:v>
                </c:pt>
                <c:pt idx="395">
                  <c:v>23162</c:v>
                </c:pt>
                <c:pt idx="396">
                  <c:v>23163</c:v>
                </c:pt>
                <c:pt idx="397">
                  <c:v>23164</c:v>
                </c:pt>
                <c:pt idx="398">
                  <c:v>23166</c:v>
                </c:pt>
                <c:pt idx="399">
                  <c:v>23168</c:v>
                </c:pt>
                <c:pt idx="400">
                  <c:v>23179</c:v>
                </c:pt>
                <c:pt idx="401">
                  <c:v>23181</c:v>
                </c:pt>
                <c:pt idx="402">
                  <c:v>23206</c:v>
                </c:pt>
                <c:pt idx="403">
                  <c:v>23207</c:v>
                </c:pt>
                <c:pt idx="404">
                  <c:v>23207</c:v>
                </c:pt>
                <c:pt idx="405">
                  <c:v>23208</c:v>
                </c:pt>
                <c:pt idx="406">
                  <c:v>23208</c:v>
                </c:pt>
                <c:pt idx="407">
                  <c:v>23228</c:v>
                </c:pt>
                <c:pt idx="408">
                  <c:v>23231</c:v>
                </c:pt>
                <c:pt idx="409">
                  <c:v>23233</c:v>
                </c:pt>
                <c:pt idx="410">
                  <c:v>23233</c:v>
                </c:pt>
                <c:pt idx="411">
                  <c:v>23233</c:v>
                </c:pt>
                <c:pt idx="412">
                  <c:v>23239</c:v>
                </c:pt>
                <c:pt idx="413">
                  <c:v>23243</c:v>
                </c:pt>
                <c:pt idx="414">
                  <c:v>23247</c:v>
                </c:pt>
                <c:pt idx="415">
                  <c:v>23249</c:v>
                </c:pt>
                <c:pt idx="416">
                  <c:v>23254</c:v>
                </c:pt>
                <c:pt idx="417">
                  <c:v>23255</c:v>
                </c:pt>
                <c:pt idx="418">
                  <c:v>23256</c:v>
                </c:pt>
                <c:pt idx="419">
                  <c:v>23270</c:v>
                </c:pt>
                <c:pt idx="420">
                  <c:v>23279</c:v>
                </c:pt>
                <c:pt idx="421">
                  <c:v>23289</c:v>
                </c:pt>
                <c:pt idx="422">
                  <c:v>23289</c:v>
                </c:pt>
                <c:pt idx="423">
                  <c:v>23307</c:v>
                </c:pt>
                <c:pt idx="424">
                  <c:v>23314</c:v>
                </c:pt>
                <c:pt idx="425">
                  <c:v>23325</c:v>
                </c:pt>
                <c:pt idx="426">
                  <c:v>23352</c:v>
                </c:pt>
                <c:pt idx="427">
                  <c:v>23371</c:v>
                </c:pt>
                <c:pt idx="428">
                  <c:v>23382</c:v>
                </c:pt>
                <c:pt idx="429">
                  <c:v>23419</c:v>
                </c:pt>
                <c:pt idx="430">
                  <c:v>23447</c:v>
                </c:pt>
                <c:pt idx="431">
                  <c:v>23456</c:v>
                </c:pt>
                <c:pt idx="432">
                  <c:v>23461</c:v>
                </c:pt>
                <c:pt idx="433">
                  <c:v>23485</c:v>
                </c:pt>
                <c:pt idx="434">
                  <c:v>23517</c:v>
                </c:pt>
                <c:pt idx="435">
                  <c:v>23534</c:v>
                </c:pt>
                <c:pt idx="436">
                  <c:v>23558</c:v>
                </c:pt>
                <c:pt idx="437">
                  <c:v>23578</c:v>
                </c:pt>
                <c:pt idx="438">
                  <c:v>23591</c:v>
                </c:pt>
                <c:pt idx="439">
                  <c:v>23596</c:v>
                </c:pt>
                <c:pt idx="440">
                  <c:v>23629</c:v>
                </c:pt>
                <c:pt idx="441">
                  <c:v>23651</c:v>
                </c:pt>
                <c:pt idx="442">
                  <c:v>23668</c:v>
                </c:pt>
                <c:pt idx="443">
                  <c:v>23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C$2:$C$445</c:f>
              <c:numCache>
                <c:formatCode>General</c:formatCode>
                <c:ptCount val="44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5</c:v>
                </c:pt>
                <c:pt idx="29">
                  <c:v>95</c:v>
                </c:pt>
                <c:pt idx="30">
                  <c:v>125</c:v>
                </c:pt>
                <c:pt idx="31">
                  <c:v>217</c:v>
                </c:pt>
                <c:pt idx="32">
                  <c:v>248</c:v>
                </c:pt>
                <c:pt idx="33">
                  <c:v>277</c:v>
                </c:pt>
                <c:pt idx="34">
                  <c:v>354</c:v>
                </c:pt>
                <c:pt idx="35">
                  <c:v>400</c:v>
                </c:pt>
                <c:pt idx="36">
                  <c:v>442</c:v>
                </c:pt>
                <c:pt idx="37">
                  <c:v>526</c:v>
                </c:pt>
                <c:pt idx="38">
                  <c:v>612</c:v>
                </c:pt>
                <c:pt idx="39">
                  <c:v>663</c:v>
                </c:pt>
                <c:pt idx="40">
                  <c:v>688</c:v>
                </c:pt>
                <c:pt idx="41">
                  <c:v>842</c:v>
                </c:pt>
                <c:pt idx="42">
                  <c:v>995</c:v>
                </c:pt>
                <c:pt idx="43">
                  <c:v>1185</c:v>
                </c:pt>
                <c:pt idx="44">
                  <c:v>1380</c:v>
                </c:pt>
                <c:pt idx="45">
                  <c:v>1590</c:v>
                </c:pt>
                <c:pt idx="46">
                  <c:v>1693</c:v>
                </c:pt>
                <c:pt idx="47">
                  <c:v>1741</c:v>
                </c:pt>
                <c:pt idx="48">
                  <c:v>1928</c:v>
                </c:pt>
                <c:pt idx="49">
                  <c:v>2120</c:v>
                </c:pt>
                <c:pt idx="50">
                  <c:v>2376</c:v>
                </c:pt>
                <c:pt idx="51">
                  <c:v>2610</c:v>
                </c:pt>
                <c:pt idx="52">
                  <c:v>2943</c:v>
                </c:pt>
                <c:pt idx="53">
                  <c:v>3130</c:v>
                </c:pt>
                <c:pt idx="54">
                  <c:v>3220</c:v>
                </c:pt>
                <c:pt idx="55">
                  <c:v>3591</c:v>
                </c:pt>
                <c:pt idx="56">
                  <c:v>3987</c:v>
                </c:pt>
                <c:pt idx="57">
                  <c:v>4120</c:v>
                </c:pt>
                <c:pt idx="58">
                  <c:v>4588</c:v>
                </c:pt>
                <c:pt idx="59">
                  <c:v>4919</c:v>
                </c:pt>
                <c:pt idx="60">
                  <c:v>5101</c:v>
                </c:pt>
                <c:pt idx="61">
                  <c:v>5217</c:v>
                </c:pt>
                <c:pt idx="62">
                  <c:v>5511</c:v>
                </c:pt>
                <c:pt idx="63">
                  <c:v>5740</c:v>
                </c:pt>
                <c:pt idx="64">
                  <c:v>6066</c:v>
                </c:pt>
                <c:pt idx="65">
                  <c:v>6344</c:v>
                </c:pt>
                <c:pt idx="66">
                  <c:v>6583</c:v>
                </c:pt>
                <c:pt idx="67">
                  <c:v>6699</c:v>
                </c:pt>
                <c:pt idx="68">
                  <c:v>6746</c:v>
                </c:pt>
                <c:pt idx="69">
                  <c:v>6942</c:v>
                </c:pt>
                <c:pt idx="70">
                  <c:v>7144</c:v>
                </c:pt>
                <c:pt idx="71">
                  <c:v>7405</c:v>
                </c:pt>
                <c:pt idx="72">
                  <c:v>7634</c:v>
                </c:pt>
                <c:pt idx="73">
                  <c:v>7838</c:v>
                </c:pt>
                <c:pt idx="74">
                  <c:v>7910</c:v>
                </c:pt>
                <c:pt idx="75">
                  <c:v>7940</c:v>
                </c:pt>
                <c:pt idx="76">
                  <c:v>8115</c:v>
                </c:pt>
                <c:pt idx="77">
                  <c:v>8161</c:v>
                </c:pt>
                <c:pt idx="78">
                  <c:v>8322</c:v>
                </c:pt>
                <c:pt idx="79">
                  <c:v>8447</c:v>
                </c:pt>
                <c:pt idx="80">
                  <c:v>8567</c:v>
                </c:pt>
                <c:pt idx="81">
                  <c:v>8601</c:v>
                </c:pt>
                <c:pt idx="82">
                  <c:v>8618</c:v>
                </c:pt>
                <c:pt idx="83">
                  <c:v>8758</c:v>
                </c:pt>
                <c:pt idx="84">
                  <c:v>8863</c:v>
                </c:pt>
                <c:pt idx="85">
                  <c:v>8955</c:v>
                </c:pt>
                <c:pt idx="86">
                  <c:v>9009</c:v>
                </c:pt>
                <c:pt idx="87">
                  <c:v>9090</c:v>
                </c:pt>
                <c:pt idx="88">
                  <c:v>9113</c:v>
                </c:pt>
                <c:pt idx="89">
                  <c:v>9128</c:v>
                </c:pt>
                <c:pt idx="90">
                  <c:v>9236</c:v>
                </c:pt>
                <c:pt idx="91">
                  <c:v>9321</c:v>
                </c:pt>
                <c:pt idx="92">
                  <c:v>9387</c:v>
                </c:pt>
                <c:pt idx="93">
                  <c:v>9442</c:v>
                </c:pt>
                <c:pt idx="94">
                  <c:v>9531</c:v>
                </c:pt>
                <c:pt idx="95">
                  <c:v>9570</c:v>
                </c:pt>
                <c:pt idx="96">
                  <c:v>9594</c:v>
                </c:pt>
                <c:pt idx="97">
                  <c:v>9715</c:v>
                </c:pt>
                <c:pt idx="98">
                  <c:v>9791</c:v>
                </c:pt>
                <c:pt idx="99">
                  <c:v>9853</c:v>
                </c:pt>
                <c:pt idx="100">
                  <c:v>9913</c:v>
                </c:pt>
                <c:pt idx="101">
                  <c:v>9991</c:v>
                </c:pt>
                <c:pt idx="102">
                  <c:v>10012</c:v>
                </c:pt>
                <c:pt idx="103">
                  <c:v>10028</c:v>
                </c:pt>
                <c:pt idx="104">
                  <c:v>10158</c:v>
                </c:pt>
                <c:pt idx="105">
                  <c:v>10230</c:v>
                </c:pt>
                <c:pt idx="106">
                  <c:v>10324</c:v>
                </c:pt>
                <c:pt idx="107">
                  <c:v>10375</c:v>
                </c:pt>
                <c:pt idx="108">
                  <c:v>10452</c:v>
                </c:pt>
                <c:pt idx="109">
                  <c:v>10479</c:v>
                </c:pt>
                <c:pt idx="110">
                  <c:v>10506</c:v>
                </c:pt>
                <c:pt idx="111">
                  <c:v>10663</c:v>
                </c:pt>
                <c:pt idx="112">
                  <c:v>10773</c:v>
                </c:pt>
                <c:pt idx="113">
                  <c:v>10887</c:v>
                </c:pt>
                <c:pt idx="114">
                  <c:v>10914</c:v>
                </c:pt>
                <c:pt idx="115">
                  <c:v>10958</c:v>
                </c:pt>
                <c:pt idx="116">
                  <c:v>11007</c:v>
                </c:pt>
                <c:pt idx="117">
                  <c:v>11053</c:v>
                </c:pt>
                <c:pt idx="118">
                  <c:v>11242</c:v>
                </c:pt>
                <c:pt idx="119">
                  <c:v>11387</c:v>
                </c:pt>
                <c:pt idx="120">
                  <c:v>11497</c:v>
                </c:pt>
                <c:pt idx="121">
                  <c:v>11581</c:v>
                </c:pt>
                <c:pt idx="122">
                  <c:v>11609</c:v>
                </c:pt>
                <c:pt idx="123">
                  <c:v>11666</c:v>
                </c:pt>
                <c:pt idx="124">
                  <c:v>11701</c:v>
                </c:pt>
                <c:pt idx="125">
                  <c:v>11967</c:v>
                </c:pt>
                <c:pt idx="126">
                  <c:v>12110</c:v>
                </c:pt>
                <c:pt idx="127">
                  <c:v>12221</c:v>
                </c:pt>
                <c:pt idx="128">
                  <c:v>12319</c:v>
                </c:pt>
                <c:pt idx="129">
                  <c:v>12439</c:v>
                </c:pt>
                <c:pt idx="130">
                  <c:v>12487</c:v>
                </c:pt>
                <c:pt idx="131">
                  <c:v>12511</c:v>
                </c:pt>
                <c:pt idx="132">
                  <c:v>12737</c:v>
                </c:pt>
                <c:pt idx="133">
                  <c:v>12832</c:v>
                </c:pt>
                <c:pt idx="134">
                  <c:v>12938</c:v>
                </c:pt>
                <c:pt idx="135">
                  <c:v>12991</c:v>
                </c:pt>
                <c:pt idx="136">
                  <c:v>13056</c:v>
                </c:pt>
                <c:pt idx="137">
                  <c:v>13087</c:v>
                </c:pt>
                <c:pt idx="138">
                  <c:v>13113</c:v>
                </c:pt>
                <c:pt idx="139">
                  <c:v>13236</c:v>
                </c:pt>
                <c:pt idx="140">
                  <c:v>13310</c:v>
                </c:pt>
                <c:pt idx="141">
                  <c:v>13381</c:v>
                </c:pt>
                <c:pt idx="142">
                  <c:v>13439</c:v>
                </c:pt>
                <c:pt idx="143">
                  <c:v>13517</c:v>
                </c:pt>
                <c:pt idx="144">
                  <c:v>13543</c:v>
                </c:pt>
                <c:pt idx="145">
                  <c:v>13554</c:v>
                </c:pt>
                <c:pt idx="146">
                  <c:v>13643</c:v>
                </c:pt>
                <c:pt idx="147">
                  <c:v>13719</c:v>
                </c:pt>
                <c:pt idx="148">
                  <c:v>13777</c:v>
                </c:pt>
                <c:pt idx="149">
                  <c:v>13809</c:v>
                </c:pt>
                <c:pt idx="150">
                  <c:v>13855</c:v>
                </c:pt>
                <c:pt idx="151">
                  <c:v>13884</c:v>
                </c:pt>
                <c:pt idx="152">
                  <c:v>13893</c:v>
                </c:pt>
                <c:pt idx="153">
                  <c:v>13971</c:v>
                </c:pt>
                <c:pt idx="154">
                  <c:v>14038</c:v>
                </c:pt>
                <c:pt idx="155">
                  <c:v>14092</c:v>
                </c:pt>
                <c:pt idx="156">
                  <c:v>14133</c:v>
                </c:pt>
                <c:pt idx="157">
                  <c:v>14179</c:v>
                </c:pt>
                <c:pt idx="158">
                  <c:v>14189</c:v>
                </c:pt>
                <c:pt idx="159">
                  <c:v>14206</c:v>
                </c:pt>
                <c:pt idx="160">
                  <c:v>14274</c:v>
                </c:pt>
                <c:pt idx="161">
                  <c:v>14295</c:v>
                </c:pt>
                <c:pt idx="162">
                  <c:v>14328</c:v>
                </c:pt>
                <c:pt idx="163">
                  <c:v>14366</c:v>
                </c:pt>
                <c:pt idx="164">
                  <c:v>14405</c:v>
                </c:pt>
                <c:pt idx="165">
                  <c:v>14420</c:v>
                </c:pt>
                <c:pt idx="166">
                  <c:v>14430</c:v>
                </c:pt>
                <c:pt idx="167">
                  <c:v>14492</c:v>
                </c:pt>
                <c:pt idx="168">
                  <c:v>14525</c:v>
                </c:pt>
                <c:pt idx="169">
                  <c:v>14561</c:v>
                </c:pt>
                <c:pt idx="170">
                  <c:v>14589</c:v>
                </c:pt>
                <c:pt idx="171">
                  <c:v>14622</c:v>
                </c:pt>
                <c:pt idx="172">
                  <c:v>14628</c:v>
                </c:pt>
                <c:pt idx="173">
                  <c:v>14646</c:v>
                </c:pt>
                <c:pt idx="174">
                  <c:v>14716</c:v>
                </c:pt>
                <c:pt idx="175">
                  <c:v>14760</c:v>
                </c:pt>
                <c:pt idx="176">
                  <c:v>14794</c:v>
                </c:pt>
                <c:pt idx="177">
                  <c:v>14825</c:v>
                </c:pt>
                <c:pt idx="178">
                  <c:v>14863</c:v>
                </c:pt>
                <c:pt idx="179">
                  <c:v>14872</c:v>
                </c:pt>
                <c:pt idx="180">
                  <c:v>14881</c:v>
                </c:pt>
                <c:pt idx="181">
                  <c:v>14937</c:v>
                </c:pt>
                <c:pt idx="182">
                  <c:v>14975</c:v>
                </c:pt>
                <c:pt idx="183">
                  <c:v>15030</c:v>
                </c:pt>
                <c:pt idx="184">
                  <c:v>15065</c:v>
                </c:pt>
                <c:pt idx="185">
                  <c:v>15093</c:v>
                </c:pt>
                <c:pt idx="186">
                  <c:v>15107</c:v>
                </c:pt>
                <c:pt idx="187">
                  <c:v>15116</c:v>
                </c:pt>
                <c:pt idx="188">
                  <c:v>15175</c:v>
                </c:pt>
                <c:pt idx="189">
                  <c:v>15212</c:v>
                </c:pt>
                <c:pt idx="190">
                  <c:v>15241</c:v>
                </c:pt>
                <c:pt idx="191">
                  <c:v>15267</c:v>
                </c:pt>
                <c:pt idx="192">
                  <c:v>15285</c:v>
                </c:pt>
                <c:pt idx="193">
                  <c:v>15296</c:v>
                </c:pt>
                <c:pt idx="194">
                  <c:v>15303</c:v>
                </c:pt>
                <c:pt idx="195">
                  <c:v>15338</c:v>
                </c:pt>
                <c:pt idx="196">
                  <c:v>15361</c:v>
                </c:pt>
                <c:pt idx="197">
                  <c:v>15384</c:v>
                </c:pt>
                <c:pt idx="198">
                  <c:v>15400</c:v>
                </c:pt>
                <c:pt idx="199">
                  <c:v>15420</c:v>
                </c:pt>
                <c:pt idx="200">
                  <c:v>15421</c:v>
                </c:pt>
                <c:pt idx="201">
                  <c:v>15425</c:v>
                </c:pt>
                <c:pt idx="202">
                  <c:v>15452</c:v>
                </c:pt>
                <c:pt idx="203">
                  <c:v>15470</c:v>
                </c:pt>
                <c:pt idx="204">
                  <c:v>15480</c:v>
                </c:pt>
                <c:pt idx="205">
                  <c:v>15488</c:v>
                </c:pt>
                <c:pt idx="206">
                  <c:v>15504</c:v>
                </c:pt>
                <c:pt idx="207">
                  <c:v>15507</c:v>
                </c:pt>
                <c:pt idx="208">
                  <c:v>15508</c:v>
                </c:pt>
                <c:pt idx="209">
                  <c:v>15526</c:v>
                </c:pt>
                <c:pt idx="210">
                  <c:v>15539</c:v>
                </c:pt>
                <c:pt idx="211">
                  <c:v>15552</c:v>
                </c:pt>
                <c:pt idx="212">
                  <c:v>15563</c:v>
                </c:pt>
                <c:pt idx="213">
                  <c:v>15566</c:v>
                </c:pt>
                <c:pt idx="214">
                  <c:v>15569</c:v>
                </c:pt>
                <c:pt idx="215">
                  <c:v>15571</c:v>
                </c:pt>
                <c:pt idx="216">
                  <c:v>15575</c:v>
                </c:pt>
                <c:pt idx="217">
                  <c:v>15595</c:v>
                </c:pt>
                <c:pt idx="218">
                  <c:v>15611</c:v>
                </c:pt>
                <c:pt idx="219">
                  <c:v>15627</c:v>
                </c:pt>
                <c:pt idx="220">
                  <c:v>15635</c:v>
                </c:pt>
                <c:pt idx="221">
                  <c:v>15639</c:v>
                </c:pt>
                <c:pt idx="222">
                  <c:v>15640</c:v>
                </c:pt>
                <c:pt idx="223">
                  <c:v>15648</c:v>
                </c:pt>
                <c:pt idx="224">
                  <c:v>15654</c:v>
                </c:pt>
                <c:pt idx="225">
                  <c:v>15658</c:v>
                </c:pt>
                <c:pt idx="226">
                  <c:v>15664</c:v>
                </c:pt>
                <c:pt idx="227">
                  <c:v>15670</c:v>
                </c:pt>
                <c:pt idx="228">
                  <c:v>15671</c:v>
                </c:pt>
                <c:pt idx="229">
                  <c:v>15672</c:v>
                </c:pt>
                <c:pt idx="230">
                  <c:v>15682</c:v>
                </c:pt>
                <c:pt idx="231">
                  <c:v>15685</c:v>
                </c:pt>
                <c:pt idx="232">
                  <c:v>15688</c:v>
                </c:pt>
                <c:pt idx="233">
                  <c:v>15692</c:v>
                </c:pt>
                <c:pt idx="234">
                  <c:v>15695</c:v>
                </c:pt>
                <c:pt idx="235">
                  <c:v>15696</c:v>
                </c:pt>
                <c:pt idx="236">
                  <c:v>15696</c:v>
                </c:pt>
                <c:pt idx="237">
                  <c:v>15701</c:v>
                </c:pt>
                <c:pt idx="238">
                  <c:v>15706</c:v>
                </c:pt>
                <c:pt idx="239">
                  <c:v>15708</c:v>
                </c:pt>
                <c:pt idx="240">
                  <c:v>15710</c:v>
                </c:pt>
                <c:pt idx="241">
                  <c:v>15714</c:v>
                </c:pt>
                <c:pt idx="242">
                  <c:v>15714</c:v>
                </c:pt>
                <c:pt idx="243">
                  <c:v>15715</c:v>
                </c:pt>
                <c:pt idx="244">
                  <c:v>15717</c:v>
                </c:pt>
                <c:pt idx="245">
                  <c:v>15719</c:v>
                </c:pt>
                <c:pt idx="246">
                  <c:v>15720</c:v>
                </c:pt>
                <c:pt idx="247">
                  <c:v>15725</c:v>
                </c:pt>
                <c:pt idx="248">
                  <c:v>15727</c:v>
                </c:pt>
                <c:pt idx="249">
                  <c:v>15728</c:v>
                </c:pt>
                <c:pt idx="250">
                  <c:v>15728</c:v>
                </c:pt>
                <c:pt idx="251">
                  <c:v>15729</c:v>
                </c:pt>
                <c:pt idx="252">
                  <c:v>15733</c:v>
                </c:pt>
                <c:pt idx="253">
                  <c:v>15733</c:v>
                </c:pt>
                <c:pt idx="254">
                  <c:v>15735</c:v>
                </c:pt>
                <c:pt idx="255">
                  <c:v>15736</c:v>
                </c:pt>
                <c:pt idx="256">
                  <c:v>15736</c:v>
                </c:pt>
                <c:pt idx="257">
                  <c:v>15736</c:v>
                </c:pt>
                <c:pt idx="258">
                  <c:v>15740</c:v>
                </c:pt>
                <c:pt idx="259">
                  <c:v>15744</c:v>
                </c:pt>
                <c:pt idx="260">
                  <c:v>15745</c:v>
                </c:pt>
                <c:pt idx="261">
                  <c:v>15748</c:v>
                </c:pt>
                <c:pt idx="262">
                  <c:v>15748</c:v>
                </c:pt>
                <c:pt idx="263">
                  <c:v>15748</c:v>
                </c:pt>
                <c:pt idx="264">
                  <c:v>15748</c:v>
                </c:pt>
                <c:pt idx="265">
                  <c:v>15750</c:v>
                </c:pt>
                <c:pt idx="266">
                  <c:v>15751</c:v>
                </c:pt>
                <c:pt idx="267">
                  <c:v>15752</c:v>
                </c:pt>
                <c:pt idx="268">
                  <c:v>15753</c:v>
                </c:pt>
                <c:pt idx="269">
                  <c:v>15753</c:v>
                </c:pt>
                <c:pt idx="270">
                  <c:v>15753</c:v>
                </c:pt>
                <c:pt idx="271">
                  <c:v>15753</c:v>
                </c:pt>
                <c:pt idx="272">
                  <c:v>15753</c:v>
                </c:pt>
                <c:pt idx="273">
                  <c:v>15753</c:v>
                </c:pt>
                <c:pt idx="274">
                  <c:v>15753</c:v>
                </c:pt>
                <c:pt idx="275">
                  <c:v>15754</c:v>
                </c:pt>
                <c:pt idx="276">
                  <c:v>15754</c:v>
                </c:pt>
                <c:pt idx="277">
                  <c:v>15754</c:v>
                </c:pt>
                <c:pt idx="278">
                  <c:v>15754</c:v>
                </c:pt>
                <c:pt idx="279">
                  <c:v>15754</c:v>
                </c:pt>
                <c:pt idx="280">
                  <c:v>15754</c:v>
                </c:pt>
                <c:pt idx="281">
                  <c:v>15754</c:v>
                </c:pt>
                <c:pt idx="282">
                  <c:v>15754</c:v>
                </c:pt>
                <c:pt idx="283">
                  <c:v>15754</c:v>
                </c:pt>
                <c:pt idx="284">
                  <c:v>15754</c:v>
                </c:pt>
                <c:pt idx="285">
                  <c:v>15754</c:v>
                </c:pt>
                <c:pt idx="286">
                  <c:v>15754</c:v>
                </c:pt>
                <c:pt idx="287">
                  <c:v>15754</c:v>
                </c:pt>
                <c:pt idx="288">
                  <c:v>15754</c:v>
                </c:pt>
                <c:pt idx="289">
                  <c:v>15754</c:v>
                </c:pt>
                <c:pt idx="290">
                  <c:v>15754</c:v>
                </c:pt>
                <c:pt idx="291">
                  <c:v>15754</c:v>
                </c:pt>
                <c:pt idx="292">
                  <c:v>15754</c:v>
                </c:pt>
                <c:pt idx="293">
                  <c:v>15754</c:v>
                </c:pt>
                <c:pt idx="294">
                  <c:v>15754</c:v>
                </c:pt>
                <c:pt idx="295">
                  <c:v>15754</c:v>
                </c:pt>
                <c:pt idx="296">
                  <c:v>15754</c:v>
                </c:pt>
                <c:pt idx="297">
                  <c:v>15754</c:v>
                </c:pt>
                <c:pt idx="298">
                  <c:v>15754</c:v>
                </c:pt>
                <c:pt idx="299">
                  <c:v>15754</c:v>
                </c:pt>
                <c:pt idx="300">
                  <c:v>15754</c:v>
                </c:pt>
                <c:pt idx="301">
                  <c:v>15754</c:v>
                </c:pt>
                <c:pt idx="302">
                  <c:v>15755</c:v>
                </c:pt>
                <c:pt idx="303">
                  <c:v>15755</c:v>
                </c:pt>
                <c:pt idx="304">
                  <c:v>15755</c:v>
                </c:pt>
                <c:pt idx="305">
                  <c:v>15755</c:v>
                </c:pt>
                <c:pt idx="306">
                  <c:v>15755</c:v>
                </c:pt>
                <c:pt idx="307">
                  <c:v>15755</c:v>
                </c:pt>
                <c:pt idx="308">
                  <c:v>15755</c:v>
                </c:pt>
                <c:pt idx="309">
                  <c:v>15755</c:v>
                </c:pt>
                <c:pt idx="310">
                  <c:v>15755</c:v>
                </c:pt>
                <c:pt idx="311">
                  <c:v>15755</c:v>
                </c:pt>
                <c:pt idx="312">
                  <c:v>15755</c:v>
                </c:pt>
                <c:pt idx="313">
                  <c:v>15756</c:v>
                </c:pt>
                <c:pt idx="314">
                  <c:v>15756</c:v>
                </c:pt>
                <c:pt idx="315">
                  <c:v>15756</c:v>
                </c:pt>
                <c:pt idx="316">
                  <c:v>15756</c:v>
                </c:pt>
                <c:pt idx="317">
                  <c:v>15756</c:v>
                </c:pt>
                <c:pt idx="318">
                  <c:v>15756</c:v>
                </c:pt>
                <c:pt idx="319">
                  <c:v>15756</c:v>
                </c:pt>
                <c:pt idx="320">
                  <c:v>15756</c:v>
                </c:pt>
                <c:pt idx="321">
                  <c:v>15756</c:v>
                </c:pt>
                <c:pt idx="322">
                  <c:v>15756</c:v>
                </c:pt>
                <c:pt idx="323">
                  <c:v>15757</c:v>
                </c:pt>
                <c:pt idx="324">
                  <c:v>15757</c:v>
                </c:pt>
                <c:pt idx="325">
                  <c:v>15757</c:v>
                </c:pt>
                <c:pt idx="326">
                  <c:v>15757</c:v>
                </c:pt>
                <c:pt idx="327">
                  <c:v>15757</c:v>
                </c:pt>
                <c:pt idx="328">
                  <c:v>15757</c:v>
                </c:pt>
                <c:pt idx="329">
                  <c:v>15758</c:v>
                </c:pt>
                <c:pt idx="330">
                  <c:v>15760</c:v>
                </c:pt>
                <c:pt idx="331">
                  <c:v>15760</c:v>
                </c:pt>
                <c:pt idx="332">
                  <c:v>15760</c:v>
                </c:pt>
                <c:pt idx="333">
                  <c:v>15760</c:v>
                </c:pt>
                <c:pt idx="334">
                  <c:v>15760</c:v>
                </c:pt>
                <c:pt idx="335">
                  <c:v>15760</c:v>
                </c:pt>
                <c:pt idx="336">
                  <c:v>15760</c:v>
                </c:pt>
                <c:pt idx="337">
                  <c:v>15760</c:v>
                </c:pt>
                <c:pt idx="338">
                  <c:v>15760</c:v>
                </c:pt>
                <c:pt idx="339">
                  <c:v>15760</c:v>
                </c:pt>
                <c:pt idx="340">
                  <c:v>15760</c:v>
                </c:pt>
                <c:pt idx="341">
                  <c:v>15761</c:v>
                </c:pt>
                <c:pt idx="342">
                  <c:v>15761</c:v>
                </c:pt>
                <c:pt idx="343">
                  <c:v>15761</c:v>
                </c:pt>
                <c:pt idx="344">
                  <c:v>15762</c:v>
                </c:pt>
                <c:pt idx="345">
                  <c:v>15762</c:v>
                </c:pt>
                <c:pt idx="346">
                  <c:v>15762</c:v>
                </c:pt>
                <c:pt idx="347">
                  <c:v>15762</c:v>
                </c:pt>
                <c:pt idx="348">
                  <c:v>15762</c:v>
                </c:pt>
                <c:pt idx="349">
                  <c:v>15762</c:v>
                </c:pt>
                <c:pt idx="350">
                  <c:v>15762</c:v>
                </c:pt>
                <c:pt idx="351">
                  <c:v>15762</c:v>
                </c:pt>
                <c:pt idx="352">
                  <c:v>15762</c:v>
                </c:pt>
                <c:pt idx="353">
                  <c:v>15762</c:v>
                </c:pt>
                <c:pt idx="354">
                  <c:v>15762</c:v>
                </c:pt>
                <c:pt idx="355">
                  <c:v>15762</c:v>
                </c:pt>
                <c:pt idx="356">
                  <c:v>15763</c:v>
                </c:pt>
                <c:pt idx="357">
                  <c:v>15763</c:v>
                </c:pt>
                <c:pt idx="358">
                  <c:v>15763</c:v>
                </c:pt>
                <c:pt idx="359">
                  <c:v>15764</c:v>
                </c:pt>
                <c:pt idx="360">
                  <c:v>15765</c:v>
                </c:pt>
                <c:pt idx="361">
                  <c:v>15766</c:v>
                </c:pt>
                <c:pt idx="362">
                  <c:v>15766</c:v>
                </c:pt>
                <c:pt idx="363">
                  <c:v>15766</c:v>
                </c:pt>
                <c:pt idx="364">
                  <c:v>15766</c:v>
                </c:pt>
                <c:pt idx="365">
                  <c:v>15768</c:v>
                </c:pt>
                <c:pt idx="366">
                  <c:v>15769</c:v>
                </c:pt>
                <c:pt idx="367">
                  <c:v>15770</c:v>
                </c:pt>
                <c:pt idx="368">
                  <c:v>15770</c:v>
                </c:pt>
                <c:pt idx="369">
                  <c:v>15770</c:v>
                </c:pt>
                <c:pt idx="370">
                  <c:v>15771</c:v>
                </c:pt>
                <c:pt idx="371">
                  <c:v>15773</c:v>
                </c:pt>
                <c:pt idx="372">
                  <c:v>15774</c:v>
                </c:pt>
                <c:pt idx="373">
                  <c:v>15775</c:v>
                </c:pt>
                <c:pt idx="374">
                  <c:v>15775</c:v>
                </c:pt>
                <c:pt idx="375">
                  <c:v>15775</c:v>
                </c:pt>
                <c:pt idx="376">
                  <c:v>15776</c:v>
                </c:pt>
                <c:pt idx="377">
                  <c:v>15776</c:v>
                </c:pt>
                <c:pt idx="378">
                  <c:v>15777</c:v>
                </c:pt>
                <c:pt idx="379">
                  <c:v>15777</c:v>
                </c:pt>
                <c:pt idx="380">
                  <c:v>15777</c:v>
                </c:pt>
                <c:pt idx="381">
                  <c:v>15777</c:v>
                </c:pt>
                <c:pt idx="382">
                  <c:v>15778</c:v>
                </c:pt>
                <c:pt idx="383">
                  <c:v>15778</c:v>
                </c:pt>
                <c:pt idx="384">
                  <c:v>15782</c:v>
                </c:pt>
                <c:pt idx="385">
                  <c:v>15785</c:v>
                </c:pt>
                <c:pt idx="386">
                  <c:v>15787</c:v>
                </c:pt>
                <c:pt idx="387">
                  <c:v>15787</c:v>
                </c:pt>
                <c:pt idx="388">
                  <c:v>15787</c:v>
                </c:pt>
                <c:pt idx="389">
                  <c:v>15788</c:v>
                </c:pt>
                <c:pt idx="390">
                  <c:v>15788</c:v>
                </c:pt>
                <c:pt idx="391">
                  <c:v>15793</c:v>
                </c:pt>
                <c:pt idx="392">
                  <c:v>15795</c:v>
                </c:pt>
                <c:pt idx="393">
                  <c:v>15802</c:v>
                </c:pt>
                <c:pt idx="394">
                  <c:v>15805</c:v>
                </c:pt>
                <c:pt idx="395">
                  <c:v>15807</c:v>
                </c:pt>
                <c:pt idx="396">
                  <c:v>15807</c:v>
                </c:pt>
                <c:pt idx="397">
                  <c:v>15807</c:v>
                </c:pt>
                <c:pt idx="398">
                  <c:v>15810</c:v>
                </c:pt>
                <c:pt idx="399">
                  <c:v>15815</c:v>
                </c:pt>
                <c:pt idx="400">
                  <c:v>15817</c:v>
                </c:pt>
                <c:pt idx="401">
                  <c:v>15818</c:v>
                </c:pt>
                <c:pt idx="402">
                  <c:v>15820</c:v>
                </c:pt>
                <c:pt idx="403">
                  <c:v>15821</c:v>
                </c:pt>
                <c:pt idx="404">
                  <c:v>15821</c:v>
                </c:pt>
                <c:pt idx="405">
                  <c:v>15823</c:v>
                </c:pt>
                <c:pt idx="406">
                  <c:v>15826</c:v>
                </c:pt>
                <c:pt idx="407">
                  <c:v>15827</c:v>
                </c:pt>
                <c:pt idx="408">
                  <c:v>15830</c:v>
                </c:pt>
                <c:pt idx="409">
                  <c:v>15836</c:v>
                </c:pt>
                <c:pt idx="410">
                  <c:v>15838</c:v>
                </c:pt>
                <c:pt idx="411">
                  <c:v>15839</c:v>
                </c:pt>
                <c:pt idx="412">
                  <c:v>15851</c:v>
                </c:pt>
                <c:pt idx="413">
                  <c:v>15858</c:v>
                </c:pt>
                <c:pt idx="414">
                  <c:v>15867</c:v>
                </c:pt>
                <c:pt idx="415">
                  <c:v>15874</c:v>
                </c:pt>
                <c:pt idx="416">
                  <c:v>15884</c:v>
                </c:pt>
                <c:pt idx="417">
                  <c:v>15884</c:v>
                </c:pt>
                <c:pt idx="418">
                  <c:v>15887</c:v>
                </c:pt>
                <c:pt idx="419">
                  <c:v>15903</c:v>
                </c:pt>
                <c:pt idx="420">
                  <c:v>15908</c:v>
                </c:pt>
                <c:pt idx="421">
                  <c:v>15922</c:v>
                </c:pt>
                <c:pt idx="422">
                  <c:v>15925</c:v>
                </c:pt>
                <c:pt idx="423">
                  <c:v>15933</c:v>
                </c:pt>
                <c:pt idx="424">
                  <c:v>15937</c:v>
                </c:pt>
                <c:pt idx="425">
                  <c:v>15941</c:v>
                </c:pt>
                <c:pt idx="426">
                  <c:v>15976</c:v>
                </c:pt>
                <c:pt idx="427">
                  <c:v>16001</c:v>
                </c:pt>
                <c:pt idx="428">
                  <c:v>16020</c:v>
                </c:pt>
                <c:pt idx="429">
                  <c:v>16046</c:v>
                </c:pt>
                <c:pt idx="430">
                  <c:v>16068</c:v>
                </c:pt>
                <c:pt idx="431">
                  <c:v>16084</c:v>
                </c:pt>
                <c:pt idx="432">
                  <c:v>16088</c:v>
                </c:pt>
                <c:pt idx="433">
                  <c:v>16122</c:v>
                </c:pt>
                <c:pt idx="434">
                  <c:v>16154</c:v>
                </c:pt>
                <c:pt idx="435">
                  <c:v>16189</c:v>
                </c:pt>
                <c:pt idx="436">
                  <c:v>16230</c:v>
                </c:pt>
                <c:pt idx="437">
                  <c:v>16263</c:v>
                </c:pt>
                <c:pt idx="438">
                  <c:v>16284</c:v>
                </c:pt>
                <c:pt idx="439">
                  <c:v>16298</c:v>
                </c:pt>
                <c:pt idx="440">
                  <c:v>16337</c:v>
                </c:pt>
                <c:pt idx="441">
                  <c:v>16382</c:v>
                </c:pt>
                <c:pt idx="442">
                  <c:v>16395</c:v>
                </c:pt>
                <c:pt idx="443">
                  <c:v>16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D$2:$D$445</c:f>
              <c:numCache>
                <c:formatCode>General</c:formatCode>
                <c:ptCount val="444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7</c:v>
                </c:pt>
                <c:pt idx="29">
                  <c:v>165</c:v>
                </c:pt>
                <c:pt idx="30">
                  <c:v>225</c:v>
                </c:pt>
                <c:pt idx="31">
                  <c:v>377</c:v>
                </c:pt>
                <c:pt idx="32">
                  <c:v>444</c:v>
                </c:pt>
                <c:pt idx="33">
                  <c:v>527</c:v>
                </c:pt>
                <c:pt idx="34">
                  <c:v>744</c:v>
                </c:pt>
                <c:pt idx="35">
                  <c:v>872</c:v>
                </c:pt>
                <c:pt idx="36">
                  <c:v>959</c:v>
                </c:pt>
                <c:pt idx="37">
                  <c:v>1121</c:v>
                </c:pt>
                <c:pt idx="38">
                  <c:v>1346</c:v>
                </c:pt>
                <c:pt idx="39">
                  <c:v>1427</c:v>
                </c:pt>
                <c:pt idx="40">
                  <c:v>1463</c:v>
                </c:pt>
                <c:pt idx="41">
                  <c:v>1755</c:v>
                </c:pt>
                <c:pt idx="42">
                  <c:v>2130</c:v>
                </c:pt>
                <c:pt idx="43">
                  <c:v>2501</c:v>
                </c:pt>
                <c:pt idx="44">
                  <c:v>2886</c:v>
                </c:pt>
                <c:pt idx="45">
                  <c:v>3301</c:v>
                </c:pt>
                <c:pt idx="46">
                  <c:v>3559</c:v>
                </c:pt>
                <c:pt idx="47">
                  <c:v>3648</c:v>
                </c:pt>
                <c:pt idx="48">
                  <c:v>4077</c:v>
                </c:pt>
                <c:pt idx="49">
                  <c:v>4465</c:v>
                </c:pt>
                <c:pt idx="50">
                  <c:v>5047</c:v>
                </c:pt>
                <c:pt idx="51">
                  <c:v>5507</c:v>
                </c:pt>
                <c:pt idx="52">
                  <c:v>6255</c:v>
                </c:pt>
                <c:pt idx="53">
                  <c:v>6669</c:v>
                </c:pt>
                <c:pt idx="54">
                  <c:v>6953</c:v>
                </c:pt>
                <c:pt idx="55">
                  <c:v>7711</c:v>
                </c:pt>
                <c:pt idx="56">
                  <c:v>8628</c:v>
                </c:pt>
                <c:pt idx="57">
                  <c:v>9021</c:v>
                </c:pt>
                <c:pt idx="58">
                  <c:v>10024</c:v>
                </c:pt>
                <c:pt idx="59">
                  <c:v>10942</c:v>
                </c:pt>
                <c:pt idx="60">
                  <c:v>11460</c:v>
                </c:pt>
                <c:pt idx="61">
                  <c:v>11788</c:v>
                </c:pt>
                <c:pt idx="62">
                  <c:v>12413</c:v>
                </c:pt>
                <c:pt idx="63">
                  <c:v>12974</c:v>
                </c:pt>
                <c:pt idx="64">
                  <c:v>13724</c:v>
                </c:pt>
                <c:pt idx="65">
                  <c:v>14535</c:v>
                </c:pt>
                <c:pt idx="66">
                  <c:v>15261</c:v>
                </c:pt>
                <c:pt idx="67">
                  <c:v>15591</c:v>
                </c:pt>
                <c:pt idx="68">
                  <c:v>15716</c:v>
                </c:pt>
                <c:pt idx="69">
                  <c:v>16114</c:v>
                </c:pt>
                <c:pt idx="70">
                  <c:v>16701</c:v>
                </c:pt>
                <c:pt idx="71">
                  <c:v>17637</c:v>
                </c:pt>
                <c:pt idx="72">
                  <c:v>18364</c:v>
                </c:pt>
                <c:pt idx="73">
                  <c:v>19048</c:v>
                </c:pt>
                <c:pt idx="74">
                  <c:v>19299</c:v>
                </c:pt>
                <c:pt idx="75">
                  <c:v>19493</c:v>
                </c:pt>
                <c:pt idx="76">
                  <c:v>20049</c:v>
                </c:pt>
                <c:pt idx="77">
                  <c:v>20232</c:v>
                </c:pt>
                <c:pt idx="78">
                  <c:v>20662</c:v>
                </c:pt>
                <c:pt idx="79">
                  <c:v>21056</c:v>
                </c:pt>
                <c:pt idx="80">
                  <c:v>21414</c:v>
                </c:pt>
                <c:pt idx="81">
                  <c:v>21542</c:v>
                </c:pt>
                <c:pt idx="82">
                  <c:v>21650</c:v>
                </c:pt>
                <c:pt idx="83">
                  <c:v>22169</c:v>
                </c:pt>
                <c:pt idx="84">
                  <c:v>22472</c:v>
                </c:pt>
                <c:pt idx="85">
                  <c:v>22688</c:v>
                </c:pt>
                <c:pt idx="86">
                  <c:v>22936</c:v>
                </c:pt>
                <c:pt idx="87">
                  <c:v>23156</c:v>
                </c:pt>
                <c:pt idx="88">
                  <c:v>23257</c:v>
                </c:pt>
                <c:pt idx="89">
                  <c:v>23300</c:v>
                </c:pt>
                <c:pt idx="90">
                  <c:v>23623</c:v>
                </c:pt>
                <c:pt idx="91">
                  <c:v>23831</c:v>
                </c:pt>
                <c:pt idx="92">
                  <c:v>24029</c:v>
                </c:pt>
                <c:pt idx="93">
                  <c:v>24216</c:v>
                </c:pt>
                <c:pt idx="94">
                  <c:v>24445</c:v>
                </c:pt>
                <c:pt idx="95">
                  <c:v>24572</c:v>
                </c:pt>
                <c:pt idx="96">
                  <c:v>24616</c:v>
                </c:pt>
                <c:pt idx="97">
                  <c:v>24879</c:v>
                </c:pt>
                <c:pt idx="98">
                  <c:v>25044</c:v>
                </c:pt>
                <c:pt idx="99">
                  <c:v>25247</c:v>
                </c:pt>
                <c:pt idx="100">
                  <c:v>25390</c:v>
                </c:pt>
                <c:pt idx="101">
                  <c:v>25698</c:v>
                </c:pt>
                <c:pt idx="102">
                  <c:v>25786</c:v>
                </c:pt>
                <c:pt idx="103">
                  <c:v>25852</c:v>
                </c:pt>
                <c:pt idx="104">
                  <c:v>26130</c:v>
                </c:pt>
                <c:pt idx="105">
                  <c:v>26335</c:v>
                </c:pt>
                <c:pt idx="106">
                  <c:v>26529</c:v>
                </c:pt>
                <c:pt idx="107">
                  <c:v>26648</c:v>
                </c:pt>
                <c:pt idx="108">
                  <c:v>26948</c:v>
                </c:pt>
                <c:pt idx="109">
                  <c:v>27035</c:v>
                </c:pt>
                <c:pt idx="110">
                  <c:v>27083</c:v>
                </c:pt>
                <c:pt idx="111">
                  <c:v>27419</c:v>
                </c:pt>
                <c:pt idx="112">
                  <c:v>27703</c:v>
                </c:pt>
                <c:pt idx="113">
                  <c:v>27939</c:v>
                </c:pt>
                <c:pt idx="114">
                  <c:v>27984</c:v>
                </c:pt>
                <c:pt idx="115">
                  <c:v>28099</c:v>
                </c:pt>
                <c:pt idx="116">
                  <c:v>28225</c:v>
                </c:pt>
                <c:pt idx="117">
                  <c:v>28368</c:v>
                </c:pt>
                <c:pt idx="118">
                  <c:v>28722</c:v>
                </c:pt>
                <c:pt idx="119">
                  <c:v>29052</c:v>
                </c:pt>
                <c:pt idx="120">
                  <c:v>29306</c:v>
                </c:pt>
                <c:pt idx="121">
                  <c:v>29523</c:v>
                </c:pt>
                <c:pt idx="122">
                  <c:v>29616</c:v>
                </c:pt>
                <c:pt idx="123">
                  <c:v>29732</c:v>
                </c:pt>
                <c:pt idx="124">
                  <c:v>29808</c:v>
                </c:pt>
                <c:pt idx="125">
                  <c:v>30342</c:v>
                </c:pt>
                <c:pt idx="126">
                  <c:v>30637</c:v>
                </c:pt>
                <c:pt idx="127">
                  <c:v>30912</c:v>
                </c:pt>
                <c:pt idx="128">
                  <c:v>31242</c:v>
                </c:pt>
                <c:pt idx="129">
                  <c:v>31546</c:v>
                </c:pt>
                <c:pt idx="130">
                  <c:v>31655</c:v>
                </c:pt>
                <c:pt idx="131">
                  <c:v>31708</c:v>
                </c:pt>
                <c:pt idx="132">
                  <c:v>32172</c:v>
                </c:pt>
                <c:pt idx="133">
                  <c:v>32393</c:v>
                </c:pt>
                <c:pt idx="134">
                  <c:v>32674</c:v>
                </c:pt>
                <c:pt idx="135">
                  <c:v>32824</c:v>
                </c:pt>
                <c:pt idx="136">
                  <c:v>32974</c:v>
                </c:pt>
                <c:pt idx="137">
                  <c:v>33040</c:v>
                </c:pt>
                <c:pt idx="138">
                  <c:v>33111</c:v>
                </c:pt>
                <c:pt idx="139">
                  <c:v>33395</c:v>
                </c:pt>
                <c:pt idx="140">
                  <c:v>33547</c:v>
                </c:pt>
                <c:pt idx="141">
                  <c:v>33764</c:v>
                </c:pt>
                <c:pt idx="142">
                  <c:v>33928</c:v>
                </c:pt>
                <c:pt idx="143">
                  <c:v>34120</c:v>
                </c:pt>
                <c:pt idx="144">
                  <c:v>34199</c:v>
                </c:pt>
                <c:pt idx="145">
                  <c:v>34234</c:v>
                </c:pt>
                <c:pt idx="146">
                  <c:v>34408</c:v>
                </c:pt>
                <c:pt idx="147">
                  <c:v>34525</c:v>
                </c:pt>
                <c:pt idx="148">
                  <c:v>34677</c:v>
                </c:pt>
                <c:pt idx="149">
                  <c:v>34775</c:v>
                </c:pt>
                <c:pt idx="150">
                  <c:v>34858</c:v>
                </c:pt>
                <c:pt idx="151">
                  <c:v>34936</c:v>
                </c:pt>
                <c:pt idx="152">
                  <c:v>34954</c:v>
                </c:pt>
                <c:pt idx="153">
                  <c:v>35137</c:v>
                </c:pt>
                <c:pt idx="154">
                  <c:v>35298</c:v>
                </c:pt>
                <c:pt idx="155">
                  <c:v>35454</c:v>
                </c:pt>
                <c:pt idx="156">
                  <c:v>35577</c:v>
                </c:pt>
                <c:pt idx="157">
                  <c:v>35707</c:v>
                </c:pt>
                <c:pt idx="158">
                  <c:v>35759</c:v>
                </c:pt>
                <c:pt idx="159">
                  <c:v>35792</c:v>
                </c:pt>
                <c:pt idx="160">
                  <c:v>35923</c:v>
                </c:pt>
                <c:pt idx="161">
                  <c:v>36009</c:v>
                </c:pt>
                <c:pt idx="162">
                  <c:v>36109</c:v>
                </c:pt>
                <c:pt idx="163">
                  <c:v>36212</c:v>
                </c:pt>
                <c:pt idx="164">
                  <c:v>36303</c:v>
                </c:pt>
                <c:pt idx="165">
                  <c:v>36326</c:v>
                </c:pt>
                <c:pt idx="166">
                  <c:v>36349</c:v>
                </c:pt>
                <c:pt idx="167">
                  <c:v>36448</c:v>
                </c:pt>
                <c:pt idx="168">
                  <c:v>36499</c:v>
                </c:pt>
                <c:pt idx="169">
                  <c:v>36565</c:v>
                </c:pt>
                <c:pt idx="170">
                  <c:v>36620</c:v>
                </c:pt>
                <c:pt idx="171">
                  <c:v>36679</c:v>
                </c:pt>
                <c:pt idx="172">
                  <c:v>36703</c:v>
                </c:pt>
                <c:pt idx="173">
                  <c:v>36726</c:v>
                </c:pt>
                <c:pt idx="174">
                  <c:v>36886</c:v>
                </c:pt>
                <c:pt idx="175">
                  <c:v>36965</c:v>
                </c:pt>
                <c:pt idx="176">
                  <c:v>37033</c:v>
                </c:pt>
                <c:pt idx="177">
                  <c:v>37110</c:v>
                </c:pt>
                <c:pt idx="178">
                  <c:v>37194</c:v>
                </c:pt>
                <c:pt idx="179">
                  <c:v>37212</c:v>
                </c:pt>
                <c:pt idx="180">
                  <c:v>37224</c:v>
                </c:pt>
                <c:pt idx="181">
                  <c:v>37358</c:v>
                </c:pt>
                <c:pt idx="182">
                  <c:v>37424</c:v>
                </c:pt>
                <c:pt idx="183">
                  <c:v>37525</c:v>
                </c:pt>
                <c:pt idx="184">
                  <c:v>37569</c:v>
                </c:pt>
                <c:pt idx="185">
                  <c:v>37619</c:v>
                </c:pt>
                <c:pt idx="186">
                  <c:v>37638</c:v>
                </c:pt>
                <c:pt idx="187">
                  <c:v>37652</c:v>
                </c:pt>
                <c:pt idx="188">
                  <c:v>37738</c:v>
                </c:pt>
                <c:pt idx="189">
                  <c:v>37846</c:v>
                </c:pt>
                <c:pt idx="190">
                  <c:v>37930</c:v>
                </c:pt>
                <c:pt idx="191">
                  <c:v>37968</c:v>
                </c:pt>
                <c:pt idx="192">
                  <c:v>38011</c:v>
                </c:pt>
                <c:pt idx="193">
                  <c:v>38031</c:v>
                </c:pt>
                <c:pt idx="194">
                  <c:v>38044</c:v>
                </c:pt>
                <c:pt idx="195">
                  <c:v>38105</c:v>
                </c:pt>
                <c:pt idx="196">
                  <c:v>38148</c:v>
                </c:pt>
                <c:pt idx="197">
                  <c:v>38178</c:v>
                </c:pt>
                <c:pt idx="198">
                  <c:v>38231</c:v>
                </c:pt>
                <c:pt idx="199">
                  <c:v>38269</c:v>
                </c:pt>
                <c:pt idx="200">
                  <c:v>38279</c:v>
                </c:pt>
                <c:pt idx="201">
                  <c:v>38287</c:v>
                </c:pt>
                <c:pt idx="202">
                  <c:v>38328</c:v>
                </c:pt>
                <c:pt idx="203">
                  <c:v>38375</c:v>
                </c:pt>
                <c:pt idx="204">
                  <c:v>38404</c:v>
                </c:pt>
                <c:pt idx="205">
                  <c:v>38443</c:v>
                </c:pt>
                <c:pt idx="206">
                  <c:v>38465</c:v>
                </c:pt>
                <c:pt idx="207">
                  <c:v>38471</c:v>
                </c:pt>
                <c:pt idx="208">
                  <c:v>38476</c:v>
                </c:pt>
                <c:pt idx="209">
                  <c:v>38515</c:v>
                </c:pt>
                <c:pt idx="210">
                  <c:v>38538</c:v>
                </c:pt>
                <c:pt idx="211">
                  <c:v>38560</c:v>
                </c:pt>
                <c:pt idx="212">
                  <c:v>38580</c:v>
                </c:pt>
                <c:pt idx="213">
                  <c:v>38586</c:v>
                </c:pt>
                <c:pt idx="214">
                  <c:v>38592</c:v>
                </c:pt>
                <c:pt idx="215">
                  <c:v>38597</c:v>
                </c:pt>
                <c:pt idx="216">
                  <c:v>38602</c:v>
                </c:pt>
                <c:pt idx="217">
                  <c:v>38627</c:v>
                </c:pt>
                <c:pt idx="218">
                  <c:v>38661</c:v>
                </c:pt>
                <c:pt idx="219">
                  <c:v>38678</c:v>
                </c:pt>
                <c:pt idx="220">
                  <c:v>38689</c:v>
                </c:pt>
                <c:pt idx="221">
                  <c:v>38694</c:v>
                </c:pt>
                <c:pt idx="222">
                  <c:v>38695</c:v>
                </c:pt>
                <c:pt idx="223">
                  <c:v>38703</c:v>
                </c:pt>
                <c:pt idx="224">
                  <c:v>38711</c:v>
                </c:pt>
                <c:pt idx="225">
                  <c:v>38716</c:v>
                </c:pt>
                <c:pt idx="226">
                  <c:v>38725</c:v>
                </c:pt>
                <c:pt idx="227">
                  <c:v>38732</c:v>
                </c:pt>
                <c:pt idx="228">
                  <c:v>38734</c:v>
                </c:pt>
                <c:pt idx="229">
                  <c:v>38736</c:v>
                </c:pt>
                <c:pt idx="230">
                  <c:v>38751</c:v>
                </c:pt>
                <c:pt idx="231">
                  <c:v>38758</c:v>
                </c:pt>
                <c:pt idx="232">
                  <c:v>38764</c:v>
                </c:pt>
                <c:pt idx="233">
                  <c:v>38777</c:v>
                </c:pt>
                <c:pt idx="234">
                  <c:v>38783</c:v>
                </c:pt>
                <c:pt idx="235">
                  <c:v>38785</c:v>
                </c:pt>
                <c:pt idx="236">
                  <c:v>38785</c:v>
                </c:pt>
                <c:pt idx="237">
                  <c:v>38791</c:v>
                </c:pt>
                <c:pt idx="238">
                  <c:v>38799</c:v>
                </c:pt>
                <c:pt idx="239">
                  <c:v>38801</c:v>
                </c:pt>
                <c:pt idx="240">
                  <c:v>38805</c:v>
                </c:pt>
                <c:pt idx="241">
                  <c:v>38810</c:v>
                </c:pt>
                <c:pt idx="242">
                  <c:v>38810</c:v>
                </c:pt>
                <c:pt idx="243">
                  <c:v>38811</c:v>
                </c:pt>
                <c:pt idx="244">
                  <c:v>38813</c:v>
                </c:pt>
                <c:pt idx="245">
                  <c:v>38815</c:v>
                </c:pt>
                <c:pt idx="246">
                  <c:v>38818</c:v>
                </c:pt>
                <c:pt idx="247">
                  <c:v>38823</c:v>
                </c:pt>
                <c:pt idx="248">
                  <c:v>38826</c:v>
                </c:pt>
                <c:pt idx="249">
                  <c:v>38827</c:v>
                </c:pt>
                <c:pt idx="250">
                  <c:v>38830</c:v>
                </c:pt>
                <c:pt idx="251">
                  <c:v>38836</c:v>
                </c:pt>
                <c:pt idx="252">
                  <c:v>38842</c:v>
                </c:pt>
                <c:pt idx="253">
                  <c:v>38842</c:v>
                </c:pt>
                <c:pt idx="254">
                  <c:v>38846</c:v>
                </c:pt>
                <c:pt idx="255">
                  <c:v>38850</c:v>
                </c:pt>
                <c:pt idx="256">
                  <c:v>38851</c:v>
                </c:pt>
                <c:pt idx="257">
                  <c:v>38851</c:v>
                </c:pt>
                <c:pt idx="258">
                  <c:v>38858</c:v>
                </c:pt>
                <c:pt idx="259">
                  <c:v>38862</c:v>
                </c:pt>
                <c:pt idx="260">
                  <c:v>38865</c:v>
                </c:pt>
                <c:pt idx="261">
                  <c:v>38868</c:v>
                </c:pt>
                <c:pt idx="262">
                  <c:v>38868</c:v>
                </c:pt>
                <c:pt idx="263">
                  <c:v>38868</c:v>
                </c:pt>
                <c:pt idx="264">
                  <c:v>38868</c:v>
                </c:pt>
                <c:pt idx="265">
                  <c:v>38872</c:v>
                </c:pt>
                <c:pt idx="266">
                  <c:v>38873</c:v>
                </c:pt>
                <c:pt idx="267">
                  <c:v>38874</c:v>
                </c:pt>
                <c:pt idx="268">
                  <c:v>38875</c:v>
                </c:pt>
                <c:pt idx="269">
                  <c:v>38875</c:v>
                </c:pt>
                <c:pt idx="270">
                  <c:v>38875</c:v>
                </c:pt>
                <c:pt idx="271">
                  <c:v>38875</c:v>
                </c:pt>
                <c:pt idx="272">
                  <c:v>38875</c:v>
                </c:pt>
                <c:pt idx="273">
                  <c:v>38875</c:v>
                </c:pt>
                <c:pt idx="274">
                  <c:v>38878</c:v>
                </c:pt>
                <c:pt idx="275">
                  <c:v>38880</c:v>
                </c:pt>
                <c:pt idx="276">
                  <c:v>38880</c:v>
                </c:pt>
                <c:pt idx="277">
                  <c:v>38880</c:v>
                </c:pt>
                <c:pt idx="278">
                  <c:v>38880</c:v>
                </c:pt>
                <c:pt idx="279">
                  <c:v>38880</c:v>
                </c:pt>
                <c:pt idx="280">
                  <c:v>38880</c:v>
                </c:pt>
                <c:pt idx="281">
                  <c:v>38880</c:v>
                </c:pt>
                <c:pt idx="282">
                  <c:v>38880</c:v>
                </c:pt>
                <c:pt idx="283">
                  <c:v>38881</c:v>
                </c:pt>
                <c:pt idx="284">
                  <c:v>38881</c:v>
                </c:pt>
                <c:pt idx="285">
                  <c:v>38881</c:v>
                </c:pt>
                <c:pt idx="286">
                  <c:v>38881</c:v>
                </c:pt>
                <c:pt idx="287">
                  <c:v>38881</c:v>
                </c:pt>
                <c:pt idx="288">
                  <c:v>38881</c:v>
                </c:pt>
                <c:pt idx="289">
                  <c:v>38882</c:v>
                </c:pt>
                <c:pt idx="290">
                  <c:v>38882</c:v>
                </c:pt>
                <c:pt idx="291">
                  <c:v>38882</c:v>
                </c:pt>
                <c:pt idx="292">
                  <c:v>38882</c:v>
                </c:pt>
                <c:pt idx="293">
                  <c:v>38882</c:v>
                </c:pt>
                <c:pt idx="294">
                  <c:v>38882</c:v>
                </c:pt>
                <c:pt idx="295">
                  <c:v>38883</c:v>
                </c:pt>
                <c:pt idx="296">
                  <c:v>38884</c:v>
                </c:pt>
                <c:pt idx="297">
                  <c:v>38884</c:v>
                </c:pt>
                <c:pt idx="298">
                  <c:v>38884</c:v>
                </c:pt>
                <c:pt idx="299">
                  <c:v>38884</c:v>
                </c:pt>
                <c:pt idx="300">
                  <c:v>38884</c:v>
                </c:pt>
                <c:pt idx="301">
                  <c:v>38884</c:v>
                </c:pt>
                <c:pt idx="302">
                  <c:v>38885</c:v>
                </c:pt>
                <c:pt idx="303">
                  <c:v>38886</c:v>
                </c:pt>
                <c:pt idx="304">
                  <c:v>38886</c:v>
                </c:pt>
                <c:pt idx="305">
                  <c:v>38886</c:v>
                </c:pt>
                <c:pt idx="306">
                  <c:v>38887</c:v>
                </c:pt>
                <c:pt idx="307">
                  <c:v>38887</c:v>
                </c:pt>
                <c:pt idx="308">
                  <c:v>38887</c:v>
                </c:pt>
                <c:pt idx="309">
                  <c:v>38887</c:v>
                </c:pt>
                <c:pt idx="310">
                  <c:v>38888</c:v>
                </c:pt>
                <c:pt idx="311">
                  <c:v>38888</c:v>
                </c:pt>
                <c:pt idx="312">
                  <c:v>38888</c:v>
                </c:pt>
                <c:pt idx="313">
                  <c:v>38889</c:v>
                </c:pt>
                <c:pt idx="314">
                  <c:v>38889</c:v>
                </c:pt>
                <c:pt idx="315">
                  <c:v>38889</c:v>
                </c:pt>
                <c:pt idx="316">
                  <c:v>38889</c:v>
                </c:pt>
                <c:pt idx="317">
                  <c:v>38889</c:v>
                </c:pt>
                <c:pt idx="318">
                  <c:v>38889</c:v>
                </c:pt>
                <c:pt idx="319">
                  <c:v>38889</c:v>
                </c:pt>
                <c:pt idx="320">
                  <c:v>38889</c:v>
                </c:pt>
                <c:pt idx="321">
                  <c:v>38889</c:v>
                </c:pt>
                <c:pt idx="322">
                  <c:v>38889</c:v>
                </c:pt>
                <c:pt idx="323">
                  <c:v>38890</c:v>
                </c:pt>
                <c:pt idx="324">
                  <c:v>38890</c:v>
                </c:pt>
                <c:pt idx="325">
                  <c:v>38890</c:v>
                </c:pt>
                <c:pt idx="326">
                  <c:v>38891</c:v>
                </c:pt>
                <c:pt idx="327">
                  <c:v>38891</c:v>
                </c:pt>
                <c:pt idx="328">
                  <c:v>38891</c:v>
                </c:pt>
                <c:pt idx="329">
                  <c:v>38892</c:v>
                </c:pt>
                <c:pt idx="330">
                  <c:v>38894</c:v>
                </c:pt>
                <c:pt idx="331">
                  <c:v>38894</c:v>
                </c:pt>
                <c:pt idx="332">
                  <c:v>38894</c:v>
                </c:pt>
                <c:pt idx="333">
                  <c:v>38894</c:v>
                </c:pt>
                <c:pt idx="334">
                  <c:v>38894</c:v>
                </c:pt>
                <c:pt idx="335">
                  <c:v>38894</c:v>
                </c:pt>
                <c:pt idx="336">
                  <c:v>38894</c:v>
                </c:pt>
                <c:pt idx="337">
                  <c:v>38894</c:v>
                </c:pt>
                <c:pt idx="338">
                  <c:v>38894</c:v>
                </c:pt>
                <c:pt idx="339">
                  <c:v>38894</c:v>
                </c:pt>
                <c:pt idx="340">
                  <c:v>38894</c:v>
                </c:pt>
                <c:pt idx="341">
                  <c:v>38895</c:v>
                </c:pt>
                <c:pt idx="342">
                  <c:v>38895</c:v>
                </c:pt>
                <c:pt idx="343">
                  <c:v>38895</c:v>
                </c:pt>
                <c:pt idx="344">
                  <c:v>38896</c:v>
                </c:pt>
                <c:pt idx="345">
                  <c:v>38896</c:v>
                </c:pt>
                <c:pt idx="346">
                  <c:v>38896</c:v>
                </c:pt>
                <c:pt idx="347">
                  <c:v>38896</c:v>
                </c:pt>
                <c:pt idx="348">
                  <c:v>38896</c:v>
                </c:pt>
                <c:pt idx="349">
                  <c:v>38897</c:v>
                </c:pt>
                <c:pt idx="350">
                  <c:v>38898</c:v>
                </c:pt>
                <c:pt idx="351">
                  <c:v>38898</c:v>
                </c:pt>
                <c:pt idx="352">
                  <c:v>38899</c:v>
                </c:pt>
                <c:pt idx="353">
                  <c:v>38899</c:v>
                </c:pt>
                <c:pt idx="354">
                  <c:v>38899</c:v>
                </c:pt>
                <c:pt idx="355">
                  <c:v>38899</c:v>
                </c:pt>
                <c:pt idx="356">
                  <c:v>38902</c:v>
                </c:pt>
                <c:pt idx="357">
                  <c:v>38902</c:v>
                </c:pt>
                <c:pt idx="358">
                  <c:v>38902</c:v>
                </c:pt>
                <c:pt idx="359">
                  <c:v>38903</c:v>
                </c:pt>
                <c:pt idx="360">
                  <c:v>38904</c:v>
                </c:pt>
                <c:pt idx="361">
                  <c:v>38905</c:v>
                </c:pt>
                <c:pt idx="362">
                  <c:v>38905</c:v>
                </c:pt>
                <c:pt idx="363">
                  <c:v>38905</c:v>
                </c:pt>
                <c:pt idx="364">
                  <c:v>38905</c:v>
                </c:pt>
                <c:pt idx="365">
                  <c:v>38908</c:v>
                </c:pt>
                <c:pt idx="366">
                  <c:v>38913</c:v>
                </c:pt>
                <c:pt idx="367">
                  <c:v>38916</c:v>
                </c:pt>
                <c:pt idx="368">
                  <c:v>38917</c:v>
                </c:pt>
                <c:pt idx="369">
                  <c:v>38917</c:v>
                </c:pt>
                <c:pt idx="370">
                  <c:v>38922</c:v>
                </c:pt>
                <c:pt idx="371">
                  <c:v>38924</c:v>
                </c:pt>
                <c:pt idx="372">
                  <c:v>38925</c:v>
                </c:pt>
                <c:pt idx="373">
                  <c:v>38927</c:v>
                </c:pt>
                <c:pt idx="374">
                  <c:v>38927</c:v>
                </c:pt>
                <c:pt idx="375">
                  <c:v>38927</c:v>
                </c:pt>
                <c:pt idx="376">
                  <c:v>38928</c:v>
                </c:pt>
                <c:pt idx="377">
                  <c:v>38929</c:v>
                </c:pt>
                <c:pt idx="378">
                  <c:v>38930</c:v>
                </c:pt>
                <c:pt idx="379">
                  <c:v>38930</c:v>
                </c:pt>
                <c:pt idx="380">
                  <c:v>38930</c:v>
                </c:pt>
                <c:pt idx="381">
                  <c:v>38930</c:v>
                </c:pt>
                <c:pt idx="382">
                  <c:v>38931</c:v>
                </c:pt>
                <c:pt idx="383">
                  <c:v>38931</c:v>
                </c:pt>
                <c:pt idx="384">
                  <c:v>38936</c:v>
                </c:pt>
                <c:pt idx="385">
                  <c:v>38942</c:v>
                </c:pt>
                <c:pt idx="386">
                  <c:v>38945</c:v>
                </c:pt>
                <c:pt idx="387">
                  <c:v>38945</c:v>
                </c:pt>
                <c:pt idx="388">
                  <c:v>38945</c:v>
                </c:pt>
                <c:pt idx="389">
                  <c:v>38946</c:v>
                </c:pt>
                <c:pt idx="390">
                  <c:v>38946</c:v>
                </c:pt>
                <c:pt idx="391">
                  <c:v>38953</c:v>
                </c:pt>
                <c:pt idx="392">
                  <c:v>38955</c:v>
                </c:pt>
                <c:pt idx="393">
                  <c:v>38963</c:v>
                </c:pt>
                <c:pt idx="394">
                  <c:v>38966</c:v>
                </c:pt>
                <c:pt idx="395">
                  <c:v>38969</c:v>
                </c:pt>
                <c:pt idx="396">
                  <c:v>38970</c:v>
                </c:pt>
                <c:pt idx="397">
                  <c:v>38971</c:v>
                </c:pt>
                <c:pt idx="398">
                  <c:v>38976</c:v>
                </c:pt>
                <c:pt idx="399">
                  <c:v>38983</c:v>
                </c:pt>
                <c:pt idx="400">
                  <c:v>38996</c:v>
                </c:pt>
                <c:pt idx="401">
                  <c:v>38999</c:v>
                </c:pt>
                <c:pt idx="402">
                  <c:v>39026</c:v>
                </c:pt>
                <c:pt idx="403">
                  <c:v>39028</c:v>
                </c:pt>
                <c:pt idx="404">
                  <c:v>39028</c:v>
                </c:pt>
                <c:pt idx="405">
                  <c:v>39031</c:v>
                </c:pt>
                <c:pt idx="406">
                  <c:v>39034</c:v>
                </c:pt>
                <c:pt idx="407">
                  <c:v>39055</c:v>
                </c:pt>
                <c:pt idx="408">
                  <c:v>39061</c:v>
                </c:pt>
                <c:pt idx="409">
                  <c:v>39069</c:v>
                </c:pt>
                <c:pt idx="410">
                  <c:v>39071</c:v>
                </c:pt>
                <c:pt idx="411">
                  <c:v>39072</c:v>
                </c:pt>
                <c:pt idx="412">
                  <c:v>39090</c:v>
                </c:pt>
                <c:pt idx="413">
                  <c:v>39101</c:v>
                </c:pt>
                <c:pt idx="414">
                  <c:v>39114</c:v>
                </c:pt>
                <c:pt idx="415">
                  <c:v>39123</c:v>
                </c:pt>
                <c:pt idx="416">
                  <c:v>39138</c:v>
                </c:pt>
                <c:pt idx="417">
                  <c:v>39139</c:v>
                </c:pt>
                <c:pt idx="418">
                  <c:v>39143</c:v>
                </c:pt>
                <c:pt idx="419">
                  <c:v>39173</c:v>
                </c:pt>
                <c:pt idx="420">
                  <c:v>39187</c:v>
                </c:pt>
                <c:pt idx="421">
                  <c:v>39211</c:v>
                </c:pt>
                <c:pt idx="422">
                  <c:v>39214</c:v>
                </c:pt>
                <c:pt idx="423">
                  <c:v>39240</c:v>
                </c:pt>
                <c:pt idx="424">
                  <c:v>39251</c:v>
                </c:pt>
                <c:pt idx="425">
                  <c:v>39266</c:v>
                </c:pt>
                <c:pt idx="426">
                  <c:v>39328</c:v>
                </c:pt>
                <c:pt idx="427">
                  <c:v>39372</c:v>
                </c:pt>
                <c:pt idx="428">
                  <c:v>39402</c:v>
                </c:pt>
                <c:pt idx="429">
                  <c:v>39465</c:v>
                </c:pt>
                <c:pt idx="430">
                  <c:v>39515</c:v>
                </c:pt>
                <c:pt idx="431">
                  <c:v>39540</c:v>
                </c:pt>
                <c:pt idx="432">
                  <c:v>39549</c:v>
                </c:pt>
                <c:pt idx="433">
                  <c:v>39607</c:v>
                </c:pt>
                <c:pt idx="434">
                  <c:v>39671</c:v>
                </c:pt>
                <c:pt idx="435">
                  <c:v>39723</c:v>
                </c:pt>
                <c:pt idx="436">
                  <c:v>39788</c:v>
                </c:pt>
                <c:pt idx="437">
                  <c:v>39841</c:v>
                </c:pt>
                <c:pt idx="438">
                  <c:v>39875</c:v>
                </c:pt>
                <c:pt idx="439">
                  <c:v>39894</c:v>
                </c:pt>
                <c:pt idx="440">
                  <c:v>39966</c:v>
                </c:pt>
                <c:pt idx="441">
                  <c:v>40033</c:v>
                </c:pt>
                <c:pt idx="442">
                  <c:v>40063</c:v>
                </c:pt>
                <c:pt idx="443">
                  <c:v>40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B$2:$B$445</c:f>
              <c:numCache>
                <c:formatCode>General</c:formatCode>
                <c:ptCount val="44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6</c:v>
                </c:pt>
                <c:pt idx="31">
                  <c:v>119</c:v>
                </c:pt>
                <c:pt idx="32">
                  <c:v>154</c:v>
                </c:pt>
                <c:pt idx="33">
                  <c:v>206</c:v>
                </c:pt>
                <c:pt idx="34">
                  <c:v>336</c:v>
                </c:pt>
                <c:pt idx="35">
                  <c:v>408</c:v>
                </c:pt>
                <c:pt idx="36">
                  <c:v>446</c:v>
                </c:pt>
                <c:pt idx="37">
                  <c:v>514</c:v>
                </c:pt>
                <c:pt idx="38">
                  <c:v>646</c:v>
                </c:pt>
                <c:pt idx="39">
                  <c:v>666</c:v>
                </c:pt>
                <c:pt idx="40">
                  <c:v>633</c:v>
                </c:pt>
                <c:pt idx="41">
                  <c:v>746</c:v>
                </c:pt>
                <c:pt idx="42">
                  <c:v>916</c:v>
                </c:pt>
                <c:pt idx="43">
                  <c:v>1046</c:v>
                </c:pt>
                <c:pt idx="44">
                  <c:v>1211</c:v>
                </c:pt>
                <c:pt idx="45">
                  <c:v>1339</c:v>
                </c:pt>
                <c:pt idx="46">
                  <c:v>1416</c:v>
                </c:pt>
                <c:pt idx="47">
                  <c:v>1370</c:v>
                </c:pt>
                <c:pt idx="48">
                  <c:v>1540</c:v>
                </c:pt>
                <c:pt idx="49">
                  <c:v>1649</c:v>
                </c:pt>
                <c:pt idx="50">
                  <c:v>1927</c:v>
                </c:pt>
                <c:pt idx="51">
                  <c:v>2082</c:v>
                </c:pt>
                <c:pt idx="52">
                  <c:v>2368</c:v>
                </c:pt>
                <c:pt idx="53">
                  <c:v>2450</c:v>
                </c:pt>
                <c:pt idx="54">
                  <c:v>2492</c:v>
                </c:pt>
                <c:pt idx="55">
                  <c:v>2673</c:v>
                </c:pt>
                <c:pt idx="56">
                  <c:v>3001</c:v>
                </c:pt>
                <c:pt idx="57">
                  <c:v>3026</c:v>
                </c:pt>
                <c:pt idx="58">
                  <c:v>3462</c:v>
                </c:pt>
                <c:pt idx="59">
                  <c:v>3757</c:v>
                </c:pt>
                <c:pt idx="60">
                  <c:v>3844</c:v>
                </c:pt>
                <c:pt idx="61">
                  <c:v>3740</c:v>
                </c:pt>
                <c:pt idx="62">
                  <c:v>3802</c:v>
                </c:pt>
                <c:pt idx="63">
                  <c:v>3731</c:v>
                </c:pt>
                <c:pt idx="64">
                  <c:v>3942</c:v>
                </c:pt>
                <c:pt idx="65">
                  <c:v>4271</c:v>
                </c:pt>
                <c:pt idx="66">
                  <c:v>4129</c:v>
                </c:pt>
                <c:pt idx="67">
                  <c:v>3779</c:v>
                </c:pt>
                <c:pt idx="68">
                  <c:v>3698</c:v>
                </c:pt>
                <c:pt idx="69">
                  <c:v>3452</c:v>
                </c:pt>
                <c:pt idx="70">
                  <c:v>3333</c:v>
                </c:pt>
                <c:pt idx="71">
                  <c:v>3750</c:v>
                </c:pt>
                <c:pt idx="72">
                  <c:v>4130</c:v>
                </c:pt>
                <c:pt idx="73">
                  <c:v>4178</c:v>
                </c:pt>
                <c:pt idx="74">
                  <c:v>3836</c:v>
                </c:pt>
                <c:pt idx="75">
                  <c:v>3723</c:v>
                </c:pt>
                <c:pt idx="76">
                  <c:v>3735</c:v>
                </c:pt>
                <c:pt idx="77">
                  <c:v>3522</c:v>
                </c:pt>
                <c:pt idx="78">
                  <c:v>3714</c:v>
                </c:pt>
                <c:pt idx="79">
                  <c:v>3864</c:v>
                </c:pt>
                <c:pt idx="80">
                  <c:v>3920</c:v>
                </c:pt>
                <c:pt idx="81">
                  <c:v>3540</c:v>
                </c:pt>
                <c:pt idx="82">
                  <c:v>3264</c:v>
                </c:pt>
                <c:pt idx="83">
                  <c:v>3389</c:v>
                </c:pt>
                <c:pt idx="84">
                  <c:v>3104</c:v>
                </c:pt>
                <c:pt idx="85">
                  <c:v>3097</c:v>
                </c:pt>
                <c:pt idx="86">
                  <c:v>3191</c:v>
                </c:pt>
                <c:pt idx="87">
                  <c:v>2955</c:v>
                </c:pt>
                <c:pt idx="88">
                  <c:v>2923</c:v>
                </c:pt>
                <c:pt idx="89">
                  <c:v>2663</c:v>
                </c:pt>
                <c:pt idx="90">
                  <c:v>2567</c:v>
                </c:pt>
                <c:pt idx="91">
                  <c:v>2381</c:v>
                </c:pt>
                <c:pt idx="92">
                  <c:v>2413</c:v>
                </c:pt>
                <c:pt idx="93">
                  <c:v>2473</c:v>
                </c:pt>
                <c:pt idx="94">
                  <c:v>2359</c:v>
                </c:pt>
                <c:pt idx="95">
                  <c:v>2192</c:v>
                </c:pt>
                <c:pt idx="96">
                  <c:v>2039</c:v>
                </c:pt>
                <c:pt idx="97">
                  <c:v>1991</c:v>
                </c:pt>
                <c:pt idx="98">
                  <c:v>1845</c:v>
                </c:pt>
                <c:pt idx="99">
                  <c:v>1899</c:v>
                </c:pt>
                <c:pt idx="100">
                  <c:v>1950</c:v>
                </c:pt>
                <c:pt idx="101">
                  <c:v>1938</c:v>
                </c:pt>
                <c:pt idx="102">
                  <c:v>1846</c:v>
                </c:pt>
                <c:pt idx="103">
                  <c:v>1800</c:v>
                </c:pt>
                <c:pt idx="104">
                  <c:v>1804</c:v>
                </c:pt>
                <c:pt idx="105">
                  <c:v>1785</c:v>
                </c:pt>
                <c:pt idx="106">
                  <c:v>1786</c:v>
                </c:pt>
                <c:pt idx="107">
                  <c:v>1790</c:v>
                </c:pt>
                <c:pt idx="108">
                  <c:v>1840</c:v>
                </c:pt>
                <c:pt idx="109">
                  <c:v>1710</c:v>
                </c:pt>
                <c:pt idx="110">
                  <c:v>1644</c:v>
                </c:pt>
                <c:pt idx="111">
                  <c:v>1692</c:v>
                </c:pt>
                <c:pt idx="112">
                  <c:v>1703</c:v>
                </c:pt>
                <c:pt idx="113">
                  <c:v>1727</c:v>
                </c:pt>
                <c:pt idx="114">
                  <c:v>1693</c:v>
                </c:pt>
                <c:pt idx="115">
                  <c:v>1590</c:v>
                </c:pt>
                <c:pt idx="116">
                  <c:v>1564</c:v>
                </c:pt>
                <c:pt idx="117">
                  <c:v>1564</c:v>
                </c:pt>
                <c:pt idx="118">
                  <c:v>1608</c:v>
                </c:pt>
                <c:pt idx="119">
                  <c:v>1655</c:v>
                </c:pt>
                <c:pt idx="120">
                  <c:v>1753</c:v>
                </c:pt>
                <c:pt idx="121">
                  <c:v>1835</c:v>
                </c:pt>
                <c:pt idx="122">
                  <c:v>1701</c:v>
                </c:pt>
                <c:pt idx="123">
                  <c:v>1667</c:v>
                </c:pt>
                <c:pt idx="124">
                  <c:v>1500</c:v>
                </c:pt>
                <c:pt idx="125">
                  <c:v>1731</c:v>
                </c:pt>
                <c:pt idx="126">
                  <c:v>1819</c:v>
                </c:pt>
                <c:pt idx="127">
                  <c:v>1909</c:v>
                </c:pt>
                <c:pt idx="128">
                  <c:v>2051</c:v>
                </c:pt>
                <c:pt idx="129">
                  <c:v>2052</c:v>
                </c:pt>
                <c:pt idx="130">
                  <c:v>1919</c:v>
                </c:pt>
                <c:pt idx="131">
                  <c:v>1771</c:v>
                </c:pt>
                <c:pt idx="132">
                  <c:v>1912</c:v>
                </c:pt>
                <c:pt idx="133">
                  <c:v>1968</c:v>
                </c:pt>
                <c:pt idx="134">
                  <c:v>2071</c:v>
                </c:pt>
                <c:pt idx="135">
                  <c:v>2116</c:v>
                </c:pt>
                <c:pt idx="136">
                  <c:v>2030</c:v>
                </c:pt>
                <c:pt idx="137">
                  <c:v>1835</c:v>
                </c:pt>
                <c:pt idx="138">
                  <c:v>1679</c:v>
                </c:pt>
                <c:pt idx="139">
                  <c:v>1618</c:v>
                </c:pt>
                <c:pt idx="140">
                  <c:v>1504</c:v>
                </c:pt>
                <c:pt idx="141">
                  <c:v>1589</c:v>
                </c:pt>
                <c:pt idx="142">
                  <c:v>1659</c:v>
                </c:pt>
                <c:pt idx="143">
                  <c:v>1529</c:v>
                </c:pt>
                <c:pt idx="144">
                  <c:v>1464</c:v>
                </c:pt>
                <c:pt idx="145">
                  <c:v>1363</c:v>
                </c:pt>
                <c:pt idx="146">
                  <c:v>1325</c:v>
                </c:pt>
                <c:pt idx="147">
                  <c:v>1271</c:v>
                </c:pt>
                <c:pt idx="148">
                  <c:v>1321</c:v>
                </c:pt>
                <c:pt idx="149">
                  <c:v>1356</c:v>
                </c:pt>
                <c:pt idx="150">
                  <c:v>1214</c:v>
                </c:pt>
                <c:pt idx="151">
                  <c:v>1172</c:v>
                </c:pt>
                <c:pt idx="152">
                  <c:v>1036</c:v>
                </c:pt>
                <c:pt idx="153">
                  <c:v>1063</c:v>
                </c:pt>
                <c:pt idx="154">
                  <c:v>1086</c:v>
                </c:pt>
                <c:pt idx="155">
                  <c:v>1141</c:v>
                </c:pt>
                <c:pt idx="156">
                  <c:v>1170</c:v>
                </c:pt>
                <c:pt idx="157">
                  <c:v>1141</c:v>
                </c:pt>
                <c:pt idx="158">
                  <c:v>1079</c:v>
                </c:pt>
                <c:pt idx="159">
                  <c:v>1024</c:v>
                </c:pt>
                <c:pt idx="160">
                  <c:v>1037</c:v>
                </c:pt>
                <c:pt idx="161">
                  <c:v>1031</c:v>
                </c:pt>
                <c:pt idx="162">
                  <c:v>1071</c:v>
                </c:pt>
                <c:pt idx="163">
                  <c:v>1117</c:v>
                </c:pt>
                <c:pt idx="164">
                  <c:v>1082</c:v>
                </c:pt>
                <c:pt idx="165">
                  <c:v>961</c:v>
                </c:pt>
                <c:pt idx="166">
                  <c:v>869</c:v>
                </c:pt>
                <c:pt idx="167">
                  <c:v>848</c:v>
                </c:pt>
                <c:pt idx="168">
                  <c:v>764</c:v>
                </c:pt>
                <c:pt idx="169">
                  <c:v>743</c:v>
                </c:pt>
                <c:pt idx="170">
                  <c:v>757</c:v>
                </c:pt>
                <c:pt idx="171">
                  <c:v>698</c:v>
                </c:pt>
                <c:pt idx="172">
                  <c:v>637</c:v>
                </c:pt>
                <c:pt idx="173">
                  <c:v>565</c:v>
                </c:pt>
                <c:pt idx="174">
                  <c:v>610</c:v>
                </c:pt>
                <c:pt idx="175">
                  <c:v>584</c:v>
                </c:pt>
                <c:pt idx="176">
                  <c:v>595</c:v>
                </c:pt>
                <c:pt idx="177">
                  <c:v>625</c:v>
                </c:pt>
                <c:pt idx="178">
                  <c:v>613</c:v>
                </c:pt>
                <c:pt idx="179">
                  <c:v>580</c:v>
                </c:pt>
                <c:pt idx="180">
                  <c:v>561</c:v>
                </c:pt>
                <c:pt idx="181">
                  <c:v>608</c:v>
                </c:pt>
                <c:pt idx="182">
                  <c:v>574</c:v>
                </c:pt>
                <c:pt idx="183">
                  <c:v>581</c:v>
                </c:pt>
                <c:pt idx="184">
                  <c:v>573</c:v>
                </c:pt>
                <c:pt idx="185">
                  <c:v>505</c:v>
                </c:pt>
                <c:pt idx="186">
                  <c:v>476</c:v>
                </c:pt>
                <c:pt idx="187">
                  <c:v>432</c:v>
                </c:pt>
                <c:pt idx="188">
                  <c:v>427</c:v>
                </c:pt>
                <c:pt idx="189">
                  <c:v>442</c:v>
                </c:pt>
                <c:pt idx="190">
                  <c:v>483</c:v>
                </c:pt>
                <c:pt idx="191">
                  <c:v>482</c:v>
                </c:pt>
                <c:pt idx="192">
                  <c:v>503</c:v>
                </c:pt>
                <c:pt idx="193">
                  <c:v>500</c:v>
                </c:pt>
                <c:pt idx="194">
                  <c:v>500</c:v>
                </c:pt>
                <c:pt idx="195">
                  <c:v>521</c:v>
                </c:pt>
                <c:pt idx="196">
                  <c:v>457</c:v>
                </c:pt>
                <c:pt idx="197">
                  <c:v>436</c:v>
                </c:pt>
                <c:pt idx="198">
                  <c:v>423</c:v>
                </c:pt>
                <c:pt idx="199">
                  <c:v>423</c:v>
                </c:pt>
                <c:pt idx="200">
                  <c:v>403</c:v>
                </c:pt>
                <c:pt idx="201">
                  <c:v>402</c:v>
                </c:pt>
                <c:pt idx="202">
                  <c:v>408</c:v>
                </c:pt>
                <c:pt idx="203">
                  <c:v>409</c:v>
                </c:pt>
                <c:pt idx="204">
                  <c:v>374</c:v>
                </c:pt>
                <c:pt idx="205">
                  <c:v>370</c:v>
                </c:pt>
                <c:pt idx="206">
                  <c:v>352</c:v>
                </c:pt>
                <c:pt idx="207">
                  <c:v>318</c:v>
                </c:pt>
                <c:pt idx="208">
                  <c:v>317</c:v>
                </c:pt>
                <c:pt idx="209">
                  <c:v>329</c:v>
                </c:pt>
                <c:pt idx="210">
                  <c:v>297</c:v>
                </c:pt>
                <c:pt idx="211">
                  <c:v>288</c:v>
                </c:pt>
                <c:pt idx="212">
                  <c:v>273</c:v>
                </c:pt>
                <c:pt idx="213">
                  <c:v>244</c:v>
                </c:pt>
                <c:pt idx="214">
                  <c:v>234</c:v>
                </c:pt>
                <c:pt idx="215">
                  <c:v>234</c:v>
                </c:pt>
                <c:pt idx="216">
                  <c:v>231</c:v>
                </c:pt>
                <c:pt idx="217">
                  <c:v>201</c:v>
                </c:pt>
                <c:pt idx="218">
                  <c:v>198</c:v>
                </c:pt>
                <c:pt idx="219">
                  <c:v>183</c:v>
                </c:pt>
                <c:pt idx="220">
                  <c:v>154</c:v>
                </c:pt>
                <c:pt idx="221">
                  <c:v>149</c:v>
                </c:pt>
                <c:pt idx="222">
                  <c:v>148</c:v>
                </c:pt>
                <c:pt idx="223">
                  <c:v>147</c:v>
                </c:pt>
                <c:pt idx="224">
                  <c:v>137</c:v>
                </c:pt>
                <c:pt idx="225">
                  <c:v>115</c:v>
                </c:pt>
                <c:pt idx="226">
                  <c:v>105</c:v>
                </c:pt>
                <c:pt idx="227">
                  <c:v>91</c:v>
                </c:pt>
                <c:pt idx="228">
                  <c:v>89</c:v>
                </c:pt>
                <c:pt idx="229">
                  <c:v>90</c:v>
                </c:pt>
                <c:pt idx="230">
                  <c:v>94</c:v>
                </c:pt>
                <c:pt idx="231">
                  <c:v>88</c:v>
                </c:pt>
                <c:pt idx="232">
                  <c:v>81</c:v>
                </c:pt>
                <c:pt idx="233">
                  <c:v>80</c:v>
                </c:pt>
                <c:pt idx="234">
                  <c:v>81</c:v>
                </c:pt>
                <c:pt idx="235">
                  <c:v>76</c:v>
                </c:pt>
                <c:pt idx="236">
                  <c:v>75</c:v>
                </c:pt>
                <c:pt idx="237">
                  <c:v>75</c:v>
                </c:pt>
                <c:pt idx="238">
                  <c:v>73</c:v>
                </c:pt>
                <c:pt idx="239">
                  <c:v>71</c:v>
                </c:pt>
                <c:pt idx="240">
                  <c:v>70</c:v>
                </c:pt>
                <c:pt idx="241">
                  <c:v>70</c:v>
                </c:pt>
                <c:pt idx="242">
                  <c:v>64</c:v>
                </c:pt>
                <c:pt idx="243">
                  <c:v>64</c:v>
                </c:pt>
                <c:pt idx="244">
                  <c:v>64</c:v>
                </c:pt>
                <c:pt idx="245">
                  <c:v>61</c:v>
                </c:pt>
                <c:pt idx="246">
                  <c:v>57</c:v>
                </c:pt>
                <c:pt idx="247">
                  <c:v>51</c:v>
                </c:pt>
                <c:pt idx="248">
                  <c:v>50</c:v>
                </c:pt>
                <c:pt idx="249">
                  <c:v>44</c:v>
                </c:pt>
                <c:pt idx="250">
                  <c:v>47</c:v>
                </c:pt>
                <c:pt idx="251">
                  <c:v>51</c:v>
                </c:pt>
                <c:pt idx="252">
                  <c:v>51</c:v>
                </c:pt>
                <c:pt idx="253">
                  <c:v>48</c:v>
                </c:pt>
                <c:pt idx="254">
                  <c:v>47</c:v>
                </c:pt>
                <c:pt idx="255">
                  <c:v>46</c:v>
                </c:pt>
                <c:pt idx="256">
                  <c:v>44</c:v>
                </c:pt>
                <c:pt idx="257">
                  <c:v>43</c:v>
                </c:pt>
                <c:pt idx="258">
                  <c:v>45</c:v>
                </c:pt>
                <c:pt idx="259">
                  <c:v>41</c:v>
                </c:pt>
                <c:pt idx="260">
                  <c:v>43</c:v>
                </c:pt>
                <c:pt idx="261">
                  <c:v>40</c:v>
                </c:pt>
                <c:pt idx="262">
                  <c:v>40</c:v>
                </c:pt>
                <c:pt idx="263">
                  <c:v>39</c:v>
                </c:pt>
                <c:pt idx="264">
                  <c:v>38</c:v>
                </c:pt>
                <c:pt idx="265">
                  <c:v>39</c:v>
                </c:pt>
                <c:pt idx="266">
                  <c:v>38</c:v>
                </c:pt>
                <c:pt idx="267">
                  <c:v>37</c:v>
                </c:pt>
                <c:pt idx="268">
                  <c:v>35</c:v>
                </c:pt>
                <c:pt idx="269">
                  <c:v>34</c:v>
                </c:pt>
                <c:pt idx="270">
                  <c:v>34</c:v>
                </c:pt>
                <c:pt idx="271">
                  <c:v>31</c:v>
                </c:pt>
                <c:pt idx="272">
                  <c:v>30</c:v>
                </c:pt>
                <c:pt idx="273">
                  <c:v>29</c:v>
                </c:pt>
                <c:pt idx="274">
                  <c:v>32</c:v>
                </c:pt>
                <c:pt idx="275">
                  <c:v>28</c:v>
                </c:pt>
                <c:pt idx="276">
                  <c:v>24</c:v>
                </c:pt>
                <c:pt idx="277">
                  <c:v>23</c:v>
                </c:pt>
                <c:pt idx="278">
                  <c:v>23</c:v>
                </c:pt>
                <c:pt idx="279">
                  <c:v>23</c:v>
                </c:pt>
                <c:pt idx="280">
                  <c:v>23</c:v>
                </c:pt>
                <c:pt idx="281">
                  <c:v>22</c:v>
                </c:pt>
                <c:pt idx="282">
                  <c:v>21</c:v>
                </c:pt>
                <c:pt idx="283">
                  <c:v>22</c:v>
                </c:pt>
                <c:pt idx="284">
                  <c:v>19</c:v>
                </c:pt>
                <c:pt idx="285">
                  <c:v>19</c:v>
                </c:pt>
                <c:pt idx="286">
                  <c:v>19</c:v>
                </c:pt>
                <c:pt idx="287">
                  <c:v>19</c:v>
                </c:pt>
                <c:pt idx="288">
                  <c:v>19</c:v>
                </c:pt>
                <c:pt idx="289">
                  <c:v>19</c:v>
                </c:pt>
                <c:pt idx="290">
                  <c:v>19</c:v>
                </c:pt>
                <c:pt idx="291">
                  <c:v>19</c:v>
                </c:pt>
                <c:pt idx="292">
                  <c:v>19</c:v>
                </c:pt>
                <c:pt idx="293">
                  <c:v>19</c:v>
                </c:pt>
                <c:pt idx="294">
                  <c:v>19</c:v>
                </c:pt>
                <c:pt idx="295">
                  <c:v>20</c:v>
                </c:pt>
                <c:pt idx="296">
                  <c:v>20</c:v>
                </c:pt>
                <c:pt idx="297">
                  <c:v>19</c:v>
                </c:pt>
                <c:pt idx="298">
                  <c:v>19</c:v>
                </c:pt>
                <c:pt idx="299">
                  <c:v>19</c:v>
                </c:pt>
                <c:pt idx="300">
                  <c:v>19</c:v>
                </c:pt>
                <c:pt idx="301">
                  <c:v>19</c:v>
                </c:pt>
                <c:pt idx="302">
                  <c:v>18</c:v>
                </c:pt>
                <c:pt idx="303">
                  <c:v>19</c:v>
                </c:pt>
                <c:pt idx="304">
                  <c:v>17</c:v>
                </c:pt>
                <c:pt idx="305">
                  <c:v>17</c:v>
                </c:pt>
                <c:pt idx="306">
                  <c:v>18</c:v>
                </c:pt>
                <c:pt idx="307">
                  <c:v>18</c:v>
                </c:pt>
                <c:pt idx="308">
                  <c:v>18</c:v>
                </c:pt>
                <c:pt idx="309">
                  <c:v>18</c:v>
                </c:pt>
                <c:pt idx="310">
                  <c:v>17</c:v>
                </c:pt>
                <c:pt idx="311">
                  <c:v>17</c:v>
                </c:pt>
                <c:pt idx="312">
                  <c:v>17</c:v>
                </c:pt>
                <c:pt idx="313">
                  <c:v>17</c:v>
                </c:pt>
                <c:pt idx="314">
                  <c:v>17</c:v>
                </c:pt>
                <c:pt idx="315">
                  <c:v>17</c:v>
                </c:pt>
                <c:pt idx="316">
                  <c:v>17</c:v>
                </c:pt>
                <c:pt idx="317">
                  <c:v>17</c:v>
                </c:pt>
                <c:pt idx="318">
                  <c:v>17</c:v>
                </c:pt>
                <c:pt idx="319">
                  <c:v>17</c:v>
                </c:pt>
                <c:pt idx="320">
                  <c:v>17</c:v>
                </c:pt>
                <c:pt idx="321">
                  <c:v>17</c:v>
                </c:pt>
                <c:pt idx="322">
                  <c:v>16</c:v>
                </c:pt>
                <c:pt idx="323">
                  <c:v>16</c:v>
                </c:pt>
                <c:pt idx="324">
                  <c:v>16</c:v>
                </c:pt>
                <c:pt idx="325">
                  <c:v>16</c:v>
                </c:pt>
                <c:pt idx="326">
                  <c:v>17</c:v>
                </c:pt>
                <c:pt idx="327">
                  <c:v>16</c:v>
                </c:pt>
                <c:pt idx="328">
                  <c:v>16</c:v>
                </c:pt>
                <c:pt idx="329">
                  <c:v>16</c:v>
                </c:pt>
                <c:pt idx="330">
                  <c:v>16</c:v>
                </c:pt>
                <c:pt idx="331">
                  <c:v>16</c:v>
                </c:pt>
                <c:pt idx="332">
                  <c:v>15</c:v>
                </c:pt>
                <c:pt idx="333">
                  <c:v>15</c:v>
                </c:pt>
                <c:pt idx="334">
                  <c:v>15</c:v>
                </c:pt>
                <c:pt idx="335">
                  <c:v>15</c:v>
                </c:pt>
                <c:pt idx="336">
                  <c:v>14</c:v>
                </c:pt>
                <c:pt idx="337">
                  <c:v>14</c:v>
                </c:pt>
                <c:pt idx="338">
                  <c:v>14</c:v>
                </c:pt>
                <c:pt idx="339">
                  <c:v>14</c:v>
                </c:pt>
                <c:pt idx="340">
                  <c:v>14</c:v>
                </c:pt>
                <c:pt idx="341">
                  <c:v>14</c:v>
                </c:pt>
                <c:pt idx="342">
                  <c:v>14</c:v>
                </c:pt>
                <c:pt idx="343">
                  <c:v>14</c:v>
                </c:pt>
                <c:pt idx="344">
                  <c:v>14</c:v>
                </c:pt>
                <c:pt idx="345">
                  <c:v>14</c:v>
                </c:pt>
                <c:pt idx="346">
                  <c:v>14</c:v>
                </c:pt>
                <c:pt idx="347">
                  <c:v>14</c:v>
                </c:pt>
                <c:pt idx="348">
                  <c:v>14</c:v>
                </c:pt>
                <c:pt idx="349">
                  <c:v>15</c:v>
                </c:pt>
                <c:pt idx="350">
                  <c:v>16</c:v>
                </c:pt>
                <c:pt idx="351">
                  <c:v>16</c:v>
                </c:pt>
                <c:pt idx="352">
                  <c:v>17</c:v>
                </c:pt>
                <c:pt idx="353">
                  <c:v>16</c:v>
                </c:pt>
                <c:pt idx="354">
                  <c:v>16</c:v>
                </c:pt>
                <c:pt idx="355">
                  <c:v>16</c:v>
                </c:pt>
                <c:pt idx="356">
                  <c:v>18</c:v>
                </c:pt>
                <c:pt idx="357">
                  <c:v>18</c:v>
                </c:pt>
                <c:pt idx="358">
                  <c:v>18</c:v>
                </c:pt>
                <c:pt idx="359">
                  <c:v>18</c:v>
                </c:pt>
                <c:pt idx="360">
                  <c:v>18</c:v>
                </c:pt>
                <c:pt idx="361">
                  <c:v>17</c:v>
                </c:pt>
                <c:pt idx="362">
                  <c:v>17</c:v>
                </c:pt>
                <c:pt idx="363">
                  <c:v>17</c:v>
                </c:pt>
                <c:pt idx="364">
                  <c:v>17</c:v>
                </c:pt>
                <c:pt idx="365">
                  <c:v>18</c:v>
                </c:pt>
                <c:pt idx="366">
                  <c:v>22</c:v>
                </c:pt>
                <c:pt idx="367">
                  <c:v>24</c:v>
                </c:pt>
                <c:pt idx="368">
                  <c:v>25</c:v>
                </c:pt>
                <c:pt idx="369">
                  <c:v>24</c:v>
                </c:pt>
                <c:pt idx="370">
                  <c:v>28</c:v>
                </c:pt>
                <c:pt idx="371">
                  <c:v>25</c:v>
                </c:pt>
                <c:pt idx="372">
                  <c:v>25</c:v>
                </c:pt>
                <c:pt idx="373">
                  <c:v>25</c:v>
                </c:pt>
                <c:pt idx="374">
                  <c:v>25</c:v>
                </c:pt>
                <c:pt idx="375">
                  <c:v>25</c:v>
                </c:pt>
                <c:pt idx="376">
                  <c:v>25</c:v>
                </c:pt>
                <c:pt idx="377">
                  <c:v>26</c:v>
                </c:pt>
                <c:pt idx="378">
                  <c:v>26</c:v>
                </c:pt>
                <c:pt idx="379">
                  <c:v>26</c:v>
                </c:pt>
                <c:pt idx="380">
                  <c:v>25</c:v>
                </c:pt>
                <c:pt idx="381">
                  <c:v>23</c:v>
                </c:pt>
                <c:pt idx="382">
                  <c:v>23</c:v>
                </c:pt>
                <c:pt idx="383">
                  <c:v>23</c:v>
                </c:pt>
                <c:pt idx="384">
                  <c:v>24</c:v>
                </c:pt>
                <c:pt idx="385">
                  <c:v>20</c:v>
                </c:pt>
                <c:pt idx="386">
                  <c:v>21</c:v>
                </c:pt>
                <c:pt idx="387">
                  <c:v>19</c:v>
                </c:pt>
                <c:pt idx="388">
                  <c:v>19</c:v>
                </c:pt>
                <c:pt idx="389">
                  <c:v>19</c:v>
                </c:pt>
                <c:pt idx="390">
                  <c:v>19</c:v>
                </c:pt>
                <c:pt idx="391">
                  <c:v>21</c:v>
                </c:pt>
                <c:pt idx="392">
                  <c:v>19</c:v>
                </c:pt>
                <c:pt idx="393">
                  <c:v>20</c:v>
                </c:pt>
                <c:pt idx="394">
                  <c:v>20</c:v>
                </c:pt>
                <c:pt idx="395">
                  <c:v>21</c:v>
                </c:pt>
                <c:pt idx="396">
                  <c:v>22</c:v>
                </c:pt>
                <c:pt idx="397">
                  <c:v>23</c:v>
                </c:pt>
                <c:pt idx="398">
                  <c:v>25</c:v>
                </c:pt>
                <c:pt idx="399">
                  <c:v>27</c:v>
                </c:pt>
                <c:pt idx="400">
                  <c:v>35</c:v>
                </c:pt>
                <c:pt idx="401">
                  <c:v>34</c:v>
                </c:pt>
                <c:pt idx="402">
                  <c:v>59</c:v>
                </c:pt>
                <c:pt idx="403">
                  <c:v>59</c:v>
                </c:pt>
                <c:pt idx="404">
                  <c:v>59</c:v>
                </c:pt>
                <c:pt idx="405">
                  <c:v>60</c:v>
                </c:pt>
                <c:pt idx="406">
                  <c:v>60</c:v>
                </c:pt>
                <c:pt idx="407">
                  <c:v>79</c:v>
                </c:pt>
                <c:pt idx="408">
                  <c:v>81</c:v>
                </c:pt>
                <c:pt idx="409">
                  <c:v>81</c:v>
                </c:pt>
                <c:pt idx="410">
                  <c:v>81</c:v>
                </c:pt>
                <c:pt idx="411">
                  <c:v>80</c:v>
                </c:pt>
                <c:pt idx="412">
                  <c:v>84</c:v>
                </c:pt>
                <c:pt idx="413">
                  <c:v>84</c:v>
                </c:pt>
                <c:pt idx="414">
                  <c:v>79</c:v>
                </c:pt>
                <c:pt idx="415">
                  <c:v>79</c:v>
                </c:pt>
                <c:pt idx="416">
                  <c:v>62</c:v>
                </c:pt>
                <c:pt idx="417">
                  <c:v>61</c:v>
                </c:pt>
                <c:pt idx="418">
                  <c:v>59</c:v>
                </c:pt>
                <c:pt idx="419">
                  <c:v>72</c:v>
                </c:pt>
                <c:pt idx="420">
                  <c:v>80</c:v>
                </c:pt>
                <c:pt idx="421">
                  <c:v>87</c:v>
                </c:pt>
                <c:pt idx="422">
                  <c:v>71</c:v>
                </c:pt>
                <c:pt idx="423">
                  <c:v>89</c:v>
                </c:pt>
                <c:pt idx="424">
                  <c:v>92</c:v>
                </c:pt>
                <c:pt idx="425">
                  <c:v>101</c:v>
                </c:pt>
                <c:pt idx="426">
                  <c:v>128</c:v>
                </c:pt>
                <c:pt idx="427">
                  <c:v>144</c:v>
                </c:pt>
                <c:pt idx="428">
                  <c:v>144</c:v>
                </c:pt>
                <c:pt idx="429">
                  <c:v>176</c:v>
                </c:pt>
                <c:pt idx="430">
                  <c:v>199</c:v>
                </c:pt>
                <c:pt idx="431">
                  <c:v>196</c:v>
                </c:pt>
                <c:pt idx="432">
                  <c:v>195</c:v>
                </c:pt>
                <c:pt idx="433">
                  <c:v>214</c:v>
                </c:pt>
                <c:pt idx="434">
                  <c:v>230</c:v>
                </c:pt>
                <c:pt idx="435">
                  <c:v>237</c:v>
                </c:pt>
                <c:pt idx="436">
                  <c:v>251</c:v>
                </c:pt>
                <c:pt idx="437">
                  <c:v>266</c:v>
                </c:pt>
                <c:pt idx="438">
                  <c:v>263</c:v>
                </c:pt>
                <c:pt idx="439">
                  <c:v>260</c:v>
                </c:pt>
                <c:pt idx="440">
                  <c:v>277</c:v>
                </c:pt>
                <c:pt idx="441">
                  <c:v>279</c:v>
                </c:pt>
                <c:pt idx="442">
                  <c:v>282</c:v>
                </c:pt>
                <c:pt idx="443">
                  <c:v>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C$2:$C$445</c:f>
              <c:numCache>
                <c:formatCode>General</c:formatCode>
                <c:ptCount val="44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4</c:v>
                </c:pt>
                <c:pt idx="29">
                  <c:v>60</c:v>
                </c:pt>
                <c:pt idx="30">
                  <c:v>88</c:v>
                </c:pt>
                <c:pt idx="31">
                  <c:v>174</c:v>
                </c:pt>
                <c:pt idx="32">
                  <c:v>199</c:v>
                </c:pt>
                <c:pt idx="33">
                  <c:v>212</c:v>
                </c:pt>
                <c:pt idx="34">
                  <c:v>283</c:v>
                </c:pt>
                <c:pt idx="35">
                  <c:v>319</c:v>
                </c:pt>
                <c:pt idx="36">
                  <c:v>346</c:v>
                </c:pt>
                <c:pt idx="37">
                  <c:v>426</c:v>
                </c:pt>
                <c:pt idx="38">
                  <c:v>506</c:v>
                </c:pt>
                <c:pt idx="39">
                  <c:v>544</c:v>
                </c:pt>
                <c:pt idx="40">
                  <c:v>558</c:v>
                </c:pt>
                <c:pt idx="41">
                  <c:v>678</c:v>
                </c:pt>
                <c:pt idx="42">
                  <c:v>797</c:v>
                </c:pt>
                <c:pt idx="43">
                  <c:v>961</c:v>
                </c:pt>
                <c:pt idx="44">
                  <c:v>1125</c:v>
                </c:pt>
                <c:pt idx="45">
                  <c:v>1290</c:v>
                </c:pt>
                <c:pt idx="46">
                  <c:v>1356</c:v>
                </c:pt>
                <c:pt idx="47">
                  <c:v>1351</c:v>
                </c:pt>
                <c:pt idx="48">
                  <c:v>1484</c:v>
                </c:pt>
                <c:pt idx="49">
                  <c:v>1623</c:v>
                </c:pt>
                <c:pt idx="50">
                  <c:v>1838</c:v>
                </c:pt>
                <c:pt idx="51">
                  <c:v>1995</c:v>
                </c:pt>
                <c:pt idx="52">
                  <c:v>2253</c:v>
                </c:pt>
                <c:pt idx="53">
                  <c:v>2326</c:v>
                </c:pt>
                <c:pt idx="54">
                  <c:v>2291</c:v>
                </c:pt>
                <c:pt idx="55">
                  <c:v>2446</c:v>
                </c:pt>
                <c:pt idx="56">
                  <c:v>2615</c:v>
                </c:pt>
                <c:pt idx="57">
                  <c:v>2628</c:v>
                </c:pt>
                <c:pt idx="58">
                  <c:v>3020</c:v>
                </c:pt>
                <c:pt idx="59">
                  <c:v>3152</c:v>
                </c:pt>
                <c:pt idx="60">
                  <c:v>3065</c:v>
                </c:pt>
                <c:pt idx="61">
                  <c:v>2905</c:v>
                </c:pt>
                <c:pt idx="62">
                  <c:v>2915</c:v>
                </c:pt>
                <c:pt idx="63">
                  <c:v>2840</c:v>
                </c:pt>
                <c:pt idx="64">
                  <c:v>3023</c:v>
                </c:pt>
                <c:pt idx="65">
                  <c:v>3194</c:v>
                </c:pt>
                <c:pt idx="66">
                  <c:v>3012</c:v>
                </c:pt>
                <c:pt idx="67">
                  <c:v>2762</c:v>
                </c:pt>
                <c:pt idx="68">
                  <c:v>2661</c:v>
                </c:pt>
                <c:pt idx="69">
                  <c:v>2508</c:v>
                </c:pt>
                <c:pt idx="70">
                  <c:v>2364</c:v>
                </c:pt>
                <c:pt idx="71">
                  <c:v>2479</c:v>
                </c:pt>
                <c:pt idx="72">
                  <c:v>2599</c:v>
                </c:pt>
                <c:pt idx="73">
                  <c:v>2501</c:v>
                </c:pt>
                <c:pt idx="74">
                  <c:v>2299</c:v>
                </c:pt>
                <c:pt idx="75">
                  <c:v>2055</c:v>
                </c:pt>
                <c:pt idx="76">
                  <c:v>2006</c:v>
                </c:pt>
                <c:pt idx="77">
                  <c:v>1848</c:v>
                </c:pt>
                <c:pt idx="78">
                  <c:v>1947</c:v>
                </c:pt>
                <c:pt idx="79">
                  <c:v>2014</c:v>
                </c:pt>
                <c:pt idx="80">
                  <c:v>1959</c:v>
                </c:pt>
                <c:pt idx="81">
                  <c:v>1703</c:v>
                </c:pt>
                <c:pt idx="82">
                  <c:v>1519</c:v>
                </c:pt>
                <c:pt idx="83">
                  <c:v>1497</c:v>
                </c:pt>
                <c:pt idx="84">
                  <c:v>1434</c:v>
                </c:pt>
                <c:pt idx="85">
                  <c:v>1456</c:v>
                </c:pt>
                <c:pt idx="86">
                  <c:v>1477</c:v>
                </c:pt>
                <c:pt idx="87">
                  <c:v>1433</c:v>
                </c:pt>
                <c:pt idx="88">
                  <c:v>1396</c:v>
                </c:pt>
                <c:pt idx="89">
                  <c:v>1249</c:v>
                </c:pt>
                <c:pt idx="90">
                  <c:v>1226</c:v>
                </c:pt>
                <c:pt idx="91">
                  <c:v>1219</c:v>
                </c:pt>
                <c:pt idx="92">
                  <c:v>1265</c:v>
                </c:pt>
                <c:pt idx="93">
                  <c:v>1299</c:v>
                </c:pt>
                <c:pt idx="94">
                  <c:v>1230</c:v>
                </c:pt>
                <c:pt idx="95">
                  <c:v>1168</c:v>
                </c:pt>
                <c:pt idx="96">
                  <c:v>1094</c:v>
                </c:pt>
                <c:pt idx="97">
                  <c:v>1154</c:v>
                </c:pt>
                <c:pt idx="98">
                  <c:v>1141</c:v>
                </c:pt>
                <c:pt idx="99">
                  <c:v>1178</c:v>
                </c:pt>
                <c:pt idx="100">
                  <c:v>1225</c:v>
                </c:pt>
                <c:pt idx="101">
                  <c:v>1203</c:v>
                </c:pt>
                <c:pt idx="102">
                  <c:v>1132</c:v>
                </c:pt>
                <c:pt idx="103">
                  <c:v>1090</c:v>
                </c:pt>
                <c:pt idx="104">
                  <c:v>1126</c:v>
                </c:pt>
                <c:pt idx="105">
                  <c:v>1130</c:v>
                </c:pt>
                <c:pt idx="106">
                  <c:v>1197</c:v>
                </c:pt>
                <c:pt idx="107">
                  <c:v>1230</c:v>
                </c:pt>
                <c:pt idx="108">
                  <c:v>1170</c:v>
                </c:pt>
                <c:pt idx="109">
                  <c:v>1114</c:v>
                </c:pt>
                <c:pt idx="110">
                  <c:v>1064</c:v>
                </c:pt>
                <c:pt idx="111">
                  <c:v>1161</c:v>
                </c:pt>
                <c:pt idx="112">
                  <c:v>1205</c:v>
                </c:pt>
                <c:pt idx="113">
                  <c:v>1290</c:v>
                </c:pt>
                <c:pt idx="114">
                  <c:v>1304</c:v>
                </c:pt>
                <c:pt idx="115">
                  <c:v>1248</c:v>
                </c:pt>
                <c:pt idx="116">
                  <c:v>1204</c:v>
                </c:pt>
                <c:pt idx="117">
                  <c:v>1172</c:v>
                </c:pt>
                <c:pt idx="118">
                  <c:v>1282</c:v>
                </c:pt>
                <c:pt idx="119">
                  <c:v>1369</c:v>
                </c:pt>
                <c:pt idx="120">
                  <c:v>1443</c:v>
                </c:pt>
                <c:pt idx="121">
                  <c:v>1508</c:v>
                </c:pt>
                <c:pt idx="122">
                  <c:v>1412</c:v>
                </c:pt>
                <c:pt idx="123">
                  <c:v>1338</c:v>
                </c:pt>
                <c:pt idx="124">
                  <c:v>1271</c:v>
                </c:pt>
                <c:pt idx="125">
                  <c:v>1521</c:v>
                </c:pt>
                <c:pt idx="126">
                  <c:v>1641</c:v>
                </c:pt>
                <c:pt idx="127">
                  <c:v>1714</c:v>
                </c:pt>
                <c:pt idx="128">
                  <c:v>1773</c:v>
                </c:pt>
                <c:pt idx="129">
                  <c:v>1672</c:v>
                </c:pt>
                <c:pt idx="130">
                  <c:v>1556</c:v>
                </c:pt>
                <c:pt idx="131">
                  <c:v>1437</c:v>
                </c:pt>
                <c:pt idx="132">
                  <c:v>1579</c:v>
                </c:pt>
                <c:pt idx="133">
                  <c:v>1659</c:v>
                </c:pt>
                <c:pt idx="134">
                  <c:v>1728</c:v>
                </c:pt>
                <c:pt idx="135">
                  <c:v>1729</c:v>
                </c:pt>
                <c:pt idx="136">
                  <c:v>1587</c:v>
                </c:pt>
                <c:pt idx="137">
                  <c:v>1441</c:v>
                </c:pt>
                <c:pt idx="138">
                  <c:v>1333</c:v>
                </c:pt>
                <c:pt idx="139">
                  <c:v>1329</c:v>
                </c:pt>
                <c:pt idx="140">
                  <c:v>1278</c:v>
                </c:pt>
                <c:pt idx="141">
                  <c:v>1309</c:v>
                </c:pt>
                <c:pt idx="142">
                  <c:v>1335</c:v>
                </c:pt>
                <c:pt idx="143">
                  <c:v>1240</c:v>
                </c:pt>
                <c:pt idx="144">
                  <c:v>1164</c:v>
                </c:pt>
                <c:pt idx="145">
                  <c:v>1054</c:v>
                </c:pt>
                <c:pt idx="146">
                  <c:v>1067</c:v>
                </c:pt>
                <c:pt idx="147">
                  <c:v>1071</c:v>
                </c:pt>
                <c:pt idx="148">
                  <c:v>1097</c:v>
                </c:pt>
                <c:pt idx="149">
                  <c:v>1107</c:v>
                </c:pt>
                <c:pt idx="150">
                  <c:v>1023</c:v>
                </c:pt>
                <c:pt idx="151">
                  <c:v>956</c:v>
                </c:pt>
                <c:pt idx="152">
                  <c:v>878</c:v>
                </c:pt>
                <c:pt idx="153">
                  <c:v>897</c:v>
                </c:pt>
                <c:pt idx="154">
                  <c:v>886</c:v>
                </c:pt>
                <c:pt idx="155">
                  <c:v>920</c:v>
                </c:pt>
                <c:pt idx="156">
                  <c:v>940</c:v>
                </c:pt>
                <c:pt idx="157">
                  <c:v>885</c:v>
                </c:pt>
                <c:pt idx="158">
                  <c:v>815</c:v>
                </c:pt>
                <c:pt idx="159">
                  <c:v>773</c:v>
                </c:pt>
                <c:pt idx="160">
                  <c:v>794</c:v>
                </c:pt>
                <c:pt idx="161">
                  <c:v>762</c:v>
                </c:pt>
                <c:pt idx="162">
                  <c:v>778</c:v>
                </c:pt>
                <c:pt idx="163">
                  <c:v>803</c:v>
                </c:pt>
                <c:pt idx="164">
                  <c:v>765</c:v>
                </c:pt>
                <c:pt idx="165">
                  <c:v>706</c:v>
                </c:pt>
                <c:pt idx="166">
                  <c:v>655</c:v>
                </c:pt>
                <c:pt idx="167">
                  <c:v>672</c:v>
                </c:pt>
                <c:pt idx="168">
                  <c:v>663</c:v>
                </c:pt>
                <c:pt idx="169">
                  <c:v>682</c:v>
                </c:pt>
                <c:pt idx="170">
                  <c:v>696</c:v>
                </c:pt>
                <c:pt idx="171">
                  <c:v>666</c:v>
                </c:pt>
                <c:pt idx="172">
                  <c:v>627</c:v>
                </c:pt>
                <c:pt idx="173">
                  <c:v>600</c:v>
                </c:pt>
                <c:pt idx="174">
                  <c:v>628</c:v>
                </c:pt>
                <c:pt idx="175">
                  <c:v>640</c:v>
                </c:pt>
                <c:pt idx="176">
                  <c:v>656</c:v>
                </c:pt>
                <c:pt idx="177">
                  <c:v>680</c:v>
                </c:pt>
                <c:pt idx="178">
                  <c:v>658</c:v>
                </c:pt>
                <c:pt idx="179">
                  <c:v>609</c:v>
                </c:pt>
                <c:pt idx="180">
                  <c:v>574</c:v>
                </c:pt>
                <c:pt idx="181">
                  <c:v>597</c:v>
                </c:pt>
                <c:pt idx="182">
                  <c:v>590</c:v>
                </c:pt>
                <c:pt idx="183">
                  <c:v>630</c:v>
                </c:pt>
                <c:pt idx="184">
                  <c:v>653</c:v>
                </c:pt>
                <c:pt idx="185">
                  <c:v>602</c:v>
                </c:pt>
                <c:pt idx="186">
                  <c:v>551</c:v>
                </c:pt>
                <c:pt idx="187">
                  <c:v>518</c:v>
                </c:pt>
                <c:pt idx="188">
                  <c:v>535</c:v>
                </c:pt>
                <c:pt idx="189">
                  <c:v>521</c:v>
                </c:pt>
                <c:pt idx="190">
                  <c:v>541</c:v>
                </c:pt>
                <c:pt idx="191">
                  <c:v>556</c:v>
                </c:pt>
                <c:pt idx="192">
                  <c:v>572</c:v>
                </c:pt>
                <c:pt idx="193">
                  <c:v>582</c:v>
                </c:pt>
                <c:pt idx="194">
                  <c:v>588</c:v>
                </c:pt>
                <c:pt idx="195">
                  <c:v>623</c:v>
                </c:pt>
                <c:pt idx="196">
                  <c:v>585</c:v>
                </c:pt>
                <c:pt idx="197">
                  <c:v>561</c:v>
                </c:pt>
                <c:pt idx="198">
                  <c:v>522</c:v>
                </c:pt>
                <c:pt idx="199">
                  <c:v>501</c:v>
                </c:pt>
                <c:pt idx="200">
                  <c:v>468</c:v>
                </c:pt>
                <c:pt idx="201">
                  <c:v>462</c:v>
                </c:pt>
                <c:pt idx="202">
                  <c:v>482</c:v>
                </c:pt>
                <c:pt idx="203">
                  <c:v>437</c:v>
                </c:pt>
                <c:pt idx="204">
                  <c:v>412</c:v>
                </c:pt>
                <c:pt idx="205">
                  <c:v>384</c:v>
                </c:pt>
                <c:pt idx="206">
                  <c:v>372</c:v>
                </c:pt>
                <c:pt idx="207">
                  <c:v>349</c:v>
                </c:pt>
                <c:pt idx="208">
                  <c:v>341</c:v>
                </c:pt>
                <c:pt idx="209">
                  <c:v>347</c:v>
                </c:pt>
                <c:pt idx="210">
                  <c:v>332</c:v>
                </c:pt>
                <c:pt idx="211">
                  <c:v>305</c:v>
                </c:pt>
                <c:pt idx="212">
                  <c:v>295</c:v>
                </c:pt>
                <c:pt idx="213">
                  <c:v>270</c:v>
                </c:pt>
                <c:pt idx="214">
                  <c:v>254</c:v>
                </c:pt>
                <c:pt idx="215">
                  <c:v>253</c:v>
                </c:pt>
                <c:pt idx="216">
                  <c:v>255</c:v>
                </c:pt>
                <c:pt idx="217">
                  <c:v>240</c:v>
                </c:pt>
                <c:pt idx="218">
                  <c:v>233</c:v>
                </c:pt>
                <c:pt idx="219">
                  <c:v>231</c:v>
                </c:pt>
                <c:pt idx="220">
                  <c:v>225</c:v>
                </c:pt>
                <c:pt idx="221">
                  <c:v>209</c:v>
                </c:pt>
                <c:pt idx="222">
                  <c:v>205</c:v>
                </c:pt>
                <c:pt idx="223">
                  <c:v>210</c:v>
                </c:pt>
                <c:pt idx="224">
                  <c:v>186</c:v>
                </c:pt>
                <c:pt idx="225">
                  <c:v>179</c:v>
                </c:pt>
                <c:pt idx="226">
                  <c:v>172</c:v>
                </c:pt>
                <c:pt idx="227">
                  <c:v>168</c:v>
                </c:pt>
                <c:pt idx="228">
                  <c:v>167</c:v>
                </c:pt>
                <c:pt idx="229">
                  <c:v>164</c:v>
                </c:pt>
                <c:pt idx="230">
                  <c:v>172</c:v>
                </c:pt>
                <c:pt idx="231">
                  <c:v>166</c:v>
                </c:pt>
                <c:pt idx="232">
                  <c:v>142</c:v>
                </c:pt>
                <c:pt idx="233">
                  <c:v>124</c:v>
                </c:pt>
                <c:pt idx="234">
                  <c:v>116</c:v>
                </c:pt>
                <c:pt idx="235">
                  <c:v>109</c:v>
                </c:pt>
                <c:pt idx="236">
                  <c:v>107</c:v>
                </c:pt>
                <c:pt idx="237">
                  <c:v>109</c:v>
                </c:pt>
                <c:pt idx="238">
                  <c:v>104</c:v>
                </c:pt>
                <c:pt idx="239">
                  <c:v>100</c:v>
                </c:pt>
                <c:pt idx="240">
                  <c:v>96</c:v>
                </c:pt>
                <c:pt idx="241">
                  <c:v>92</c:v>
                </c:pt>
                <c:pt idx="242">
                  <c:v>88</c:v>
                </c:pt>
                <c:pt idx="243">
                  <c:v>87</c:v>
                </c:pt>
                <c:pt idx="244">
                  <c:v>89</c:v>
                </c:pt>
                <c:pt idx="245">
                  <c:v>78</c:v>
                </c:pt>
                <c:pt idx="246">
                  <c:v>74</c:v>
                </c:pt>
                <c:pt idx="247">
                  <c:v>75</c:v>
                </c:pt>
                <c:pt idx="248">
                  <c:v>73</c:v>
                </c:pt>
                <c:pt idx="249">
                  <c:v>68</c:v>
                </c:pt>
                <c:pt idx="250">
                  <c:v>66</c:v>
                </c:pt>
                <c:pt idx="251">
                  <c:v>67</c:v>
                </c:pt>
                <c:pt idx="252">
                  <c:v>63</c:v>
                </c:pt>
                <c:pt idx="253">
                  <c:v>59</c:v>
                </c:pt>
                <c:pt idx="254">
                  <c:v>59</c:v>
                </c:pt>
                <c:pt idx="255">
                  <c:v>59</c:v>
                </c:pt>
                <c:pt idx="256">
                  <c:v>56</c:v>
                </c:pt>
                <c:pt idx="257">
                  <c:v>56</c:v>
                </c:pt>
                <c:pt idx="258">
                  <c:v>57</c:v>
                </c:pt>
                <c:pt idx="259">
                  <c:v>58</c:v>
                </c:pt>
                <c:pt idx="260">
                  <c:v>53</c:v>
                </c:pt>
                <c:pt idx="261">
                  <c:v>54</c:v>
                </c:pt>
                <c:pt idx="262">
                  <c:v>53</c:v>
                </c:pt>
                <c:pt idx="263">
                  <c:v>50</c:v>
                </c:pt>
                <c:pt idx="264">
                  <c:v>50</c:v>
                </c:pt>
                <c:pt idx="265">
                  <c:v>52</c:v>
                </c:pt>
                <c:pt idx="266">
                  <c:v>50</c:v>
                </c:pt>
                <c:pt idx="267">
                  <c:v>47</c:v>
                </c:pt>
                <c:pt idx="268">
                  <c:v>46</c:v>
                </c:pt>
                <c:pt idx="269">
                  <c:v>44</c:v>
                </c:pt>
                <c:pt idx="270">
                  <c:v>42</c:v>
                </c:pt>
                <c:pt idx="271">
                  <c:v>42</c:v>
                </c:pt>
                <c:pt idx="272">
                  <c:v>41</c:v>
                </c:pt>
                <c:pt idx="273">
                  <c:v>38</c:v>
                </c:pt>
                <c:pt idx="274">
                  <c:v>35</c:v>
                </c:pt>
                <c:pt idx="275">
                  <c:v>34</c:v>
                </c:pt>
                <c:pt idx="276">
                  <c:v>33</c:v>
                </c:pt>
                <c:pt idx="277">
                  <c:v>33</c:v>
                </c:pt>
                <c:pt idx="278">
                  <c:v>33</c:v>
                </c:pt>
                <c:pt idx="279">
                  <c:v>32</c:v>
                </c:pt>
                <c:pt idx="280">
                  <c:v>30</c:v>
                </c:pt>
                <c:pt idx="281">
                  <c:v>28</c:v>
                </c:pt>
                <c:pt idx="282">
                  <c:v>28</c:v>
                </c:pt>
                <c:pt idx="283">
                  <c:v>28</c:v>
                </c:pt>
                <c:pt idx="284">
                  <c:v>28</c:v>
                </c:pt>
                <c:pt idx="285">
                  <c:v>28</c:v>
                </c:pt>
                <c:pt idx="286">
                  <c:v>28</c:v>
                </c:pt>
                <c:pt idx="287">
                  <c:v>28</c:v>
                </c:pt>
                <c:pt idx="288">
                  <c:v>28</c:v>
                </c:pt>
                <c:pt idx="289">
                  <c:v>27</c:v>
                </c:pt>
                <c:pt idx="290">
                  <c:v>27</c:v>
                </c:pt>
                <c:pt idx="291">
                  <c:v>27</c:v>
                </c:pt>
                <c:pt idx="292">
                  <c:v>27</c:v>
                </c:pt>
                <c:pt idx="293">
                  <c:v>27</c:v>
                </c:pt>
                <c:pt idx="294">
                  <c:v>27</c:v>
                </c:pt>
                <c:pt idx="295">
                  <c:v>27</c:v>
                </c:pt>
                <c:pt idx="296">
                  <c:v>27</c:v>
                </c:pt>
                <c:pt idx="297">
                  <c:v>26</c:v>
                </c:pt>
                <c:pt idx="298">
                  <c:v>26</c:v>
                </c:pt>
                <c:pt idx="299">
                  <c:v>26</c:v>
                </c:pt>
                <c:pt idx="300">
                  <c:v>26</c:v>
                </c:pt>
                <c:pt idx="301">
                  <c:v>26</c:v>
                </c:pt>
                <c:pt idx="302">
                  <c:v>27</c:v>
                </c:pt>
                <c:pt idx="303">
                  <c:v>27</c:v>
                </c:pt>
                <c:pt idx="304">
                  <c:v>27</c:v>
                </c:pt>
                <c:pt idx="305">
                  <c:v>27</c:v>
                </c:pt>
                <c:pt idx="306">
                  <c:v>27</c:v>
                </c:pt>
                <c:pt idx="307">
                  <c:v>27</c:v>
                </c:pt>
                <c:pt idx="308">
                  <c:v>27</c:v>
                </c:pt>
                <c:pt idx="309">
                  <c:v>27</c:v>
                </c:pt>
                <c:pt idx="310">
                  <c:v>27</c:v>
                </c:pt>
                <c:pt idx="311">
                  <c:v>27</c:v>
                </c:pt>
                <c:pt idx="312">
                  <c:v>27</c:v>
                </c:pt>
                <c:pt idx="313">
                  <c:v>28</c:v>
                </c:pt>
                <c:pt idx="314">
                  <c:v>28</c:v>
                </c:pt>
                <c:pt idx="315">
                  <c:v>28</c:v>
                </c:pt>
                <c:pt idx="316">
                  <c:v>28</c:v>
                </c:pt>
                <c:pt idx="317">
                  <c:v>28</c:v>
                </c:pt>
                <c:pt idx="318">
                  <c:v>27</c:v>
                </c:pt>
                <c:pt idx="319">
                  <c:v>27</c:v>
                </c:pt>
                <c:pt idx="320">
                  <c:v>27</c:v>
                </c:pt>
                <c:pt idx="321">
                  <c:v>27</c:v>
                </c:pt>
                <c:pt idx="322">
                  <c:v>27</c:v>
                </c:pt>
                <c:pt idx="323">
                  <c:v>28</c:v>
                </c:pt>
                <c:pt idx="324">
                  <c:v>27</c:v>
                </c:pt>
                <c:pt idx="325">
                  <c:v>27</c:v>
                </c:pt>
                <c:pt idx="326">
                  <c:v>26</c:v>
                </c:pt>
                <c:pt idx="327">
                  <c:v>26</c:v>
                </c:pt>
                <c:pt idx="328">
                  <c:v>25</c:v>
                </c:pt>
                <c:pt idx="329">
                  <c:v>26</c:v>
                </c:pt>
                <c:pt idx="330">
                  <c:v>27</c:v>
                </c:pt>
                <c:pt idx="331">
                  <c:v>27</c:v>
                </c:pt>
                <c:pt idx="332">
                  <c:v>27</c:v>
                </c:pt>
                <c:pt idx="333">
                  <c:v>27</c:v>
                </c:pt>
                <c:pt idx="334">
                  <c:v>27</c:v>
                </c:pt>
                <c:pt idx="335">
                  <c:v>27</c:v>
                </c:pt>
                <c:pt idx="336">
                  <c:v>27</c:v>
                </c:pt>
                <c:pt idx="337">
                  <c:v>27</c:v>
                </c:pt>
                <c:pt idx="338">
                  <c:v>26</c:v>
                </c:pt>
                <c:pt idx="339">
                  <c:v>26</c:v>
                </c:pt>
                <c:pt idx="340">
                  <c:v>26</c:v>
                </c:pt>
                <c:pt idx="341">
                  <c:v>27</c:v>
                </c:pt>
                <c:pt idx="342">
                  <c:v>27</c:v>
                </c:pt>
                <c:pt idx="343">
                  <c:v>26</c:v>
                </c:pt>
                <c:pt idx="344">
                  <c:v>26</c:v>
                </c:pt>
                <c:pt idx="345">
                  <c:v>26</c:v>
                </c:pt>
                <c:pt idx="346">
                  <c:v>26</c:v>
                </c:pt>
                <c:pt idx="347">
                  <c:v>26</c:v>
                </c:pt>
                <c:pt idx="348">
                  <c:v>26</c:v>
                </c:pt>
                <c:pt idx="349">
                  <c:v>26</c:v>
                </c:pt>
                <c:pt idx="350">
                  <c:v>25</c:v>
                </c:pt>
                <c:pt idx="351">
                  <c:v>25</c:v>
                </c:pt>
                <c:pt idx="352">
                  <c:v>25</c:v>
                </c:pt>
                <c:pt idx="353">
                  <c:v>25</c:v>
                </c:pt>
                <c:pt idx="354">
                  <c:v>25</c:v>
                </c:pt>
                <c:pt idx="355">
                  <c:v>25</c:v>
                </c:pt>
                <c:pt idx="356">
                  <c:v>26</c:v>
                </c:pt>
                <c:pt idx="357">
                  <c:v>26</c:v>
                </c:pt>
                <c:pt idx="358">
                  <c:v>26</c:v>
                </c:pt>
                <c:pt idx="359">
                  <c:v>26</c:v>
                </c:pt>
                <c:pt idx="360">
                  <c:v>27</c:v>
                </c:pt>
                <c:pt idx="361">
                  <c:v>27</c:v>
                </c:pt>
                <c:pt idx="362">
                  <c:v>27</c:v>
                </c:pt>
                <c:pt idx="363">
                  <c:v>27</c:v>
                </c:pt>
                <c:pt idx="364">
                  <c:v>27</c:v>
                </c:pt>
                <c:pt idx="365">
                  <c:v>29</c:v>
                </c:pt>
                <c:pt idx="366">
                  <c:v>30</c:v>
                </c:pt>
                <c:pt idx="367">
                  <c:v>31</c:v>
                </c:pt>
                <c:pt idx="368">
                  <c:v>31</c:v>
                </c:pt>
                <c:pt idx="369">
                  <c:v>31</c:v>
                </c:pt>
                <c:pt idx="370">
                  <c:v>32</c:v>
                </c:pt>
                <c:pt idx="371">
                  <c:v>33</c:v>
                </c:pt>
                <c:pt idx="372">
                  <c:v>34</c:v>
                </c:pt>
                <c:pt idx="373">
                  <c:v>35</c:v>
                </c:pt>
                <c:pt idx="374">
                  <c:v>35</c:v>
                </c:pt>
                <c:pt idx="375">
                  <c:v>34</c:v>
                </c:pt>
                <c:pt idx="376">
                  <c:v>33</c:v>
                </c:pt>
                <c:pt idx="377">
                  <c:v>33</c:v>
                </c:pt>
                <c:pt idx="378">
                  <c:v>34</c:v>
                </c:pt>
                <c:pt idx="379">
                  <c:v>33</c:v>
                </c:pt>
                <c:pt idx="380">
                  <c:v>33</c:v>
                </c:pt>
                <c:pt idx="381">
                  <c:v>32</c:v>
                </c:pt>
                <c:pt idx="382">
                  <c:v>30</c:v>
                </c:pt>
                <c:pt idx="383">
                  <c:v>30</c:v>
                </c:pt>
                <c:pt idx="384">
                  <c:v>34</c:v>
                </c:pt>
                <c:pt idx="385">
                  <c:v>36</c:v>
                </c:pt>
                <c:pt idx="386">
                  <c:v>36</c:v>
                </c:pt>
                <c:pt idx="387">
                  <c:v>36</c:v>
                </c:pt>
                <c:pt idx="388">
                  <c:v>36</c:v>
                </c:pt>
                <c:pt idx="389">
                  <c:v>37</c:v>
                </c:pt>
                <c:pt idx="390">
                  <c:v>37</c:v>
                </c:pt>
                <c:pt idx="391">
                  <c:v>41</c:v>
                </c:pt>
                <c:pt idx="392">
                  <c:v>43</c:v>
                </c:pt>
                <c:pt idx="393">
                  <c:v>48</c:v>
                </c:pt>
                <c:pt idx="394">
                  <c:v>49</c:v>
                </c:pt>
                <c:pt idx="395">
                  <c:v>50</c:v>
                </c:pt>
                <c:pt idx="396">
                  <c:v>49</c:v>
                </c:pt>
                <c:pt idx="397">
                  <c:v>48</c:v>
                </c:pt>
                <c:pt idx="398">
                  <c:v>50</c:v>
                </c:pt>
                <c:pt idx="399">
                  <c:v>52</c:v>
                </c:pt>
                <c:pt idx="400">
                  <c:v>52</c:v>
                </c:pt>
                <c:pt idx="401">
                  <c:v>53</c:v>
                </c:pt>
                <c:pt idx="402">
                  <c:v>54</c:v>
                </c:pt>
                <c:pt idx="403">
                  <c:v>55</c:v>
                </c:pt>
                <c:pt idx="404">
                  <c:v>53</c:v>
                </c:pt>
                <c:pt idx="405">
                  <c:v>55</c:v>
                </c:pt>
                <c:pt idx="406">
                  <c:v>51</c:v>
                </c:pt>
                <c:pt idx="407">
                  <c:v>51</c:v>
                </c:pt>
                <c:pt idx="408">
                  <c:v>47</c:v>
                </c:pt>
                <c:pt idx="409">
                  <c:v>52</c:v>
                </c:pt>
                <c:pt idx="410">
                  <c:v>52</c:v>
                </c:pt>
                <c:pt idx="411">
                  <c:v>53</c:v>
                </c:pt>
                <c:pt idx="412">
                  <c:v>65</c:v>
                </c:pt>
                <c:pt idx="413">
                  <c:v>68</c:v>
                </c:pt>
                <c:pt idx="414">
                  <c:v>76</c:v>
                </c:pt>
                <c:pt idx="415">
                  <c:v>79</c:v>
                </c:pt>
                <c:pt idx="416">
                  <c:v>85</c:v>
                </c:pt>
                <c:pt idx="417">
                  <c:v>81</c:v>
                </c:pt>
                <c:pt idx="418">
                  <c:v>84</c:v>
                </c:pt>
                <c:pt idx="419">
                  <c:v>99</c:v>
                </c:pt>
                <c:pt idx="420">
                  <c:v>101</c:v>
                </c:pt>
                <c:pt idx="421">
                  <c:v>112</c:v>
                </c:pt>
                <c:pt idx="422">
                  <c:v>113</c:v>
                </c:pt>
                <c:pt idx="423">
                  <c:v>118</c:v>
                </c:pt>
                <c:pt idx="424">
                  <c:v>117</c:v>
                </c:pt>
                <c:pt idx="425">
                  <c:v>118</c:v>
                </c:pt>
                <c:pt idx="426">
                  <c:v>153</c:v>
                </c:pt>
                <c:pt idx="427">
                  <c:v>163</c:v>
                </c:pt>
                <c:pt idx="428">
                  <c:v>174</c:v>
                </c:pt>
                <c:pt idx="429">
                  <c:v>189</c:v>
                </c:pt>
                <c:pt idx="430">
                  <c:v>202</c:v>
                </c:pt>
                <c:pt idx="431">
                  <c:v>212</c:v>
                </c:pt>
                <c:pt idx="432">
                  <c:v>213</c:v>
                </c:pt>
                <c:pt idx="433">
                  <c:v>243</c:v>
                </c:pt>
                <c:pt idx="434">
                  <c:v>263</c:v>
                </c:pt>
                <c:pt idx="435">
                  <c:v>280</c:v>
                </c:pt>
                <c:pt idx="436">
                  <c:v>310</c:v>
                </c:pt>
                <c:pt idx="437">
                  <c:v>338</c:v>
                </c:pt>
                <c:pt idx="438">
                  <c:v>345</c:v>
                </c:pt>
                <c:pt idx="439">
                  <c:v>351</c:v>
                </c:pt>
                <c:pt idx="440">
                  <c:v>381</c:v>
                </c:pt>
                <c:pt idx="441">
                  <c:v>412</c:v>
                </c:pt>
                <c:pt idx="442">
                  <c:v>412</c:v>
                </c:pt>
                <c:pt idx="443">
                  <c:v>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List1!$D$2:$D$445</c:f>
              <c:numCache>
                <c:formatCode>General</c:formatCode>
                <c:ptCount val="444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5</c:v>
                </c:pt>
                <c:pt idx="29">
                  <c:v>98</c:v>
                </c:pt>
                <c:pt idx="30">
                  <c:v>154</c:v>
                </c:pt>
                <c:pt idx="31">
                  <c:v>293</c:v>
                </c:pt>
                <c:pt idx="32">
                  <c:v>353</c:v>
                </c:pt>
                <c:pt idx="33">
                  <c:v>418</c:v>
                </c:pt>
                <c:pt idx="34">
                  <c:v>619</c:v>
                </c:pt>
                <c:pt idx="35">
                  <c:v>727</c:v>
                </c:pt>
                <c:pt idx="36">
                  <c:v>792</c:v>
                </c:pt>
                <c:pt idx="37">
                  <c:v>940</c:v>
                </c:pt>
                <c:pt idx="38">
                  <c:v>1152</c:v>
                </c:pt>
                <c:pt idx="39">
                  <c:v>1210</c:v>
                </c:pt>
                <c:pt idx="40">
                  <c:v>1191</c:v>
                </c:pt>
                <c:pt idx="41">
                  <c:v>1424</c:v>
                </c:pt>
                <c:pt idx="42">
                  <c:v>1713</c:v>
                </c:pt>
                <c:pt idx="43">
                  <c:v>2007</c:v>
                </c:pt>
                <c:pt idx="44">
                  <c:v>2336</c:v>
                </c:pt>
                <c:pt idx="45">
                  <c:v>2629</c:v>
                </c:pt>
                <c:pt idx="46">
                  <c:v>2772</c:v>
                </c:pt>
                <c:pt idx="47">
                  <c:v>2721</c:v>
                </c:pt>
                <c:pt idx="48">
                  <c:v>3024</c:v>
                </c:pt>
                <c:pt idx="49">
                  <c:v>3272</c:v>
                </c:pt>
                <c:pt idx="50">
                  <c:v>3765</c:v>
                </c:pt>
                <c:pt idx="51">
                  <c:v>4077</c:v>
                </c:pt>
                <c:pt idx="52">
                  <c:v>4621</c:v>
                </c:pt>
                <c:pt idx="53">
                  <c:v>4776</c:v>
                </c:pt>
                <c:pt idx="54">
                  <c:v>4783</c:v>
                </c:pt>
                <c:pt idx="55">
                  <c:v>5119</c:v>
                </c:pt>
                <c:pt idx="56">
                  <c:v>5616</c:v>
                </c:pt>
                <c:pt idx="57">
                  <c:v>5654</c:v>
                </c:pt>
                <c:pt idx="58">
                  <c:v>6482</c:v>
                </c:pt>
                <c:pt idx="59">
                  <c:v>6909</c:v>
                </c:pt>
                <c:pt idx="60">
                  <c:v>6909</c:v>
                </c:pt>
                <c:pt idx="61">
                  <c:v>6645</c:v>
                </c:pt>
                <c:pt idx="62">
                  <c:v>6717</c:v>
                </c:pt>
                <c:pt idx="63">
                  <c:v>6571</c:v>
                </c:pt>
                <c:pt idx="64">
                  <c:v>6965</c:v>
                </c:pt>
                <c:pt idx="65">
                  <c:v>7465</c:v>
                </c:pt>
                <c:pt idx="66">
                  <c:v>7141</c:v>
                </c:pt>
                <c:pt idx="67">
                  <c:v>6541</c:v>
                </c:pt>
                <c:pt idx="68">
                  <c:v>6359</c:v>
                </c:pt>
                <c:pt idx="69">
                  <c:v>5960</c:v>
                </c:pt>
                <c:pt idx="70">
                  <c:v>5697</c:v>
                </c:pt>
                <c:pt idx="71">
                  <c:v>6229</c:v>
                </c:pt>
                <c:pt idx="72">
                  <c:v>6729</c:v>
                </c:pt>
                <c:pt idx="73">
                  <c:v>6679</c:v>
                </c:pt>
                <c:pt idx="74">
                  <c:v>6135</c:v>
                </c:pt>
                <c:pt idx="75">
                  <c:v>5778</c:v>
                </c:pt>
                <c:pt idx="76">
                  <c:v>5741</c:v>
                </c:pt>
                <c:pt idx="77">
                  <c:v>5370</c:v>
                </c:pt>
                <c:pt idx="78">
                  <c:v>5661</c:v>
                </c:pt>
                <c:pt idx="79">
                  <c:v>5878</c:v>
                </c:pt>
                <c:pt idx="80">
                  <c:v>5879</c:v>
                </c:pt>
                <c:pt idx="81">
                  <c:v>5243</c:v>
                </c:pt>
                <c:pt idx="82">
                  <c:v>4783</c:v>
                </c:pt>
                <c:pt idx="83">
                  <c:v>4886</c:v>
                </c:pt>
                <c:pt idx="84">
                  <c:v>4538</c:v>
                </c:pt>
                <c:pt idx="85">
                  <c:v>4553</c:v>
                </c:pt>
                <c:pt idx="86">
                  <c:v>4668</c:v>
                </c:pt>
                <c:pt idx="87">
                  <c:v>4388</c:v>
                </c:pt>
                <c:pt idx="88">
                  <c:v>4319</c:v>
                </c:pt>
                <c:pt idx="89">
                  <c:v>3912</c:v>
                </c:pt>
                <c:pt idx="90">
                  <c:v>3793</c:v>
                </c:pt>
                <c:pt idx="91">
                  <c:v>3600</c:v>
                </c:pt>
                <c:pt idx="92">
                  <c:v>3678</c:v>
                </c:pt>
                <c:pt idx="93">
                  <c:v>3772</c:v>
                </c:pt>
                <c:pt idx="94">
                  <c:v>3589</c:v>
                </c:pt>
                <c:pt idx="95">
                  <c:v>3360</c:v>
                </c:pt>
                <c:pt idx="96">
                  <c:v>3133</c:v>
                </c:pt>
                <c:pt idx="97">
                  <c:v>3145</c:v>
                </c:pt>
                <c:pt idx="98">
                  <c:v>2986</c:v>
                </c:pt>
                <c:pt idx="99">
                  <c:v>3077</c:v>
                </c:pt>
                <c:pt idx="100">
                  <c:v>3175</c:v>
                </c:pt>
                <c:pt idx="101">
                  <c:v>3141</c:v>
                </c:pt>
                <c:pt idx="102">
                  <c:v>2978</c:v>
                </c:pt>
                <c:pt idx="103">
                  <c:v>2890</c:v>
                </c:pt>
                <c:pt idx="104">
                  <c:v>2930</c:v>
                </c:pt>
                <c:pt idx="105">
                  <c:v>2915</c:v>
                </c:pt>
                <c:pt idx="106">
                  <c:v>2983</c:v>
                </c:pt>
                <c:pt idx="107">
                  <c:v>3020</c:v>
                </c:pt>
                <c:pt idx="108">
                  <c:v>3010</c:v>
                </c:pt>
                <c:pt idx="109">
                  <c:v>2824</c:v>
                </c:pt>
                <c:pt idx="110">
                  <c:v>2708</c:v>
                </c:pt>
                <c:pt idx="111">
                  <c:v>2853</c:v>
                </c:pt>
                <c:pt idx="112">
                  <c:v>2908</c:v>
                </c:pt>
                <c:pt idx="113">
                  <c:v>3017</c:v>
                </c:pt>
                <c:pt idx="114">
                  <c:v>2997</c:v>
                </c:pt>
                <c:pt idx="115">
                  <c:v>2838</c:v>
                </c:pt>
                <c:pt idx="116">
                  <c:v>2768</c:v>
                </c:pt>
                <c:pt idx="117">
                  <c:v>2736</c:v>
                </c:pt>
                <c:pt idx="118">
                  <c:v>2890</c:v>
                </c:pt>
                <c:pt idx="119">
                  <c:v>3024</c:v>
                </c:pt>
                <c:pt idx="120">
                  <c:v>3196</c:v>
                </c:pt>
                <c:pt idx="121">
                  <c:v>3343</c:v>
                </c:pt>
                <c:pt idx="122">
                  <c:v>3113</c:v>
                </c:pt>
                <c:pt idx="123">
                  <c:v>3005</c:v>
                </c:pt>
                <c:pt idx="124">
                  <c:v>2771</c:v>
                </c:pt>
                <c:pt idx="125">
                  <c:v>3252</c:v>
                </c:pt>
                <c:pt idx="126">
                  <c:v>3460</c:v>
                </c:pt>
                <c:pt idx="127">
                  <c:v>3623</c:v>
                </c:pt>
                <c:pt idx="128">
                  <c:v>3824</c:v>
                </c:pt>
                <c:pt idx="129">
                  <c:v>3724</c:v>
                </c:pt>
                <c:pt idx="130">
                  <c:v>3475</c:v>
                </c:pt>
                <c:pt idx="131">
                  <c:v>3208</c:v>
                </c:pt>
                <c:pt idx="132">
                  <c:v>3491</c:v>
                </c:pt>
                <c:pt idx="133">
                  <c:v>3627</c:v>
                </c:pt>
                <c:pt idx="134">
                  <c:v>3799</c:v>
                </c:pt>
                <c:pt idx="135">
                  <c:v>3845</c:v>
                </c:pt>
                <c:pt idx="136">
                  <c:v>3617</c:v>
                </c:pt>
                <c:pt idx="137">
                  <c:v>3276</c:v>
                </c:pt>
                <c:pt idx="138">
                  <c:v>3012</c:v>
                </c:pt>
                <c:pt idx="139">
                  <c:v>2947</c:v>
                </c:pt>
                <c:pt idx="140">
                  <c:v>2782</c:v>
                </c:pt>
                <c:pt idx="141">
                  <c:v>2898</c:v>
                </c:pt>
                <c:pt idx="142">
                  <c:v>2994</c:v>
                </c:pt>
                <c:pt idx="143">
                  <c:v>2769</c:v>
                </c:pt>
                <c:pt idx="144">
                  <c:v>2628</c:v>
                </c:pt>
                <c:pt idx="145">
                  <c:v>2417</c:v>
                </c:pt>
                <c:pt idx="146">
                  <c:v>2392</c:v>
                </c:pt>
                <c:pt idx="147">
                  <c:v>2342</c:v>
                </c:pt>
                <c:pt idx="148">
                  <c:v>2418</c:v>
                </c:pt>
                <c:pt idx="149">
                  <c:v>2463</c:v>
                </c:pt>
                <c:pt idx="150">
                  <c:v>2237</c:v>
                </c:pt>
                <c:pt idx="151">
                  <c:v>2128</c:v>
                </c:pt>
                <c:pt idx="152">
                  <c:v>1914</c:v>
                </c:pt>
                <c:pt idx="153">
                  <c:v>1960</c:v>
                </c:pt>
                <c:pt idx="154">
                  <c:v>1972</c:v>
                </c:pt>
                <c:pt idx="155">
                  <c:v>2061</c:v>
                </c:pt>
                <c:pt idx="156">
                  <c:v>2110</c:v>
                </c:pt>
                <c:pt idx="157">
                  <c:v>2026</c:v>
                </c:pt>
                <c:pt idx="158">
                  <c:v>1894</c:v>
                </c:pt>
                <c:pt idx="159">
                  <c:v>1797</c:v>
                </c:pt>
                <c:pt idx="160">
                  <c:v>1831</c:v>
                </c:pt>
                <c:pt idx="161">
                  <c:v>1793</c:v>
                </c:pt>
                <c:pt idx="162">
                  <c:v>1849</c:v>
                </c:pt>
                <c:pt idx="163">
                  <c:v>1920</c:v>
                </c:pt>
                <c:pt idx="164">
                  <c:v>1847</c:v>
                </c:pt>
                <c:pt idx="165">
                  <c:v>1667</c:v>
                </c:pt>
                <c:pt idx="166">
                  <c:v>1524</c:v>
                </c:pt>
                <c:pt idx="167">
                  <c:v>1520</c:v>
                </c:pt>
                <c:pt idx="168">
                  <c:v>1427</c:v>
                </c:pt>
                <c:pt idx="169">
                  <c:v>1425</c:v>
                </c:pt>
                <c:pt idx="170">
                  <c:v>1453</c:v>
                </c:pt>
                <c:pt idx="171">
                  <c:v>1364</c:v>
                </c:pt>
                <c:pt idx="172">
                  <c:v>1264</c:v>
                </c:pt>
                <c:pt idx="173">
                  <c:v>1165</c:v>
                </c:pt>
                <c:pt idx="174">
                  <c:v>1238</c:v>
                </c:pt>
                <c:pt idx="175">
                  <c:v>1224</c:v>
                </c:pt>
                <c:pt idx="176">
                  <c:v>1251</c:v>
                </c:pt>
                <c:pt idx="177">
                  <c:v>1305</c:v>
                </c:pt>
                <c:pt idx="178">
                  <c:v>1271</c:v>
                </c:pt>
                <c:pt idx="179">
                  <c:v>1189</c:v>
                </c:pt>
                <c:pt idx="180">
                  <c:v>1135</c:v>
                </c:pt>
                <c:pt idx="181">
                  <c:v>1205</c:v>
                </c:pt>
                <c:pt idx="182">
                  <c:v>1164</c:v>
                </c:pt>
                <c:pt idx="183">
                  <c:v>1211</c:v>
                </c:pt>
                <c:pt idx="184">
                  <c:v>1226</c:v>
                </c:pt>
                <c:pt idx="185">
                  <c:v>1107</c:v>
                </c:pt>
                <c:pt idx="186">
                  <c:v>1027</c:v>
                </c:pt>
                <c:pt idx="187">
                  <c:v>950</c:v>
                </c:pt>
                <c:pt idx="188">
                  <c:v>962</c:v>
                </c:pt>
                <c:pt idx="189">
                  <c:v>963</c:v>
                </c:pt>
                <c:pt idx="190">
                  <c:v>1024</c:v>
                </c:pt>
                <c:pt idx="191">
                  <c:v>1038</c:v>
                </c:pt>
                <c:pt idx="192">
                  <c:v>1075</c:v>
                </c:pt>
                <c:pt idx="193">
                  <c:v>1082</c:v>
                </c:pt>
                <c:pt idx="194">
                  <c:v>1088</c:v>
                </c:pt>
                <c:pt idx="195">
                  <c:v>1144</c:v>
                </c:pt>
                <c:pt idx="196">
                  <c:v>1042</c:v>
                </c:pt>
                <c:pt idx="197">
                  <c:v>997</c:v>
                </c:pt>
                <c:pt idx="198">
                  <c:v>945</c:v>
                </c:pt>
                <c:pt idx="199">
                  <c:v>924</c:v>
                </c:pt>
                <c:pt idx="200">
                  <c:v>871</c:v>
                </c:pt>
                <c:pt idx="201">
                  <c:v>864</c:v>
                </c:pt>
                <c:pt idx="202">
                  <c:v>890</c:v>
                </c:pt>
                <c:pt idx="203">
                  <c:v>846</c:v>
                </c:pt>
                <c:pt idx="204">
                  <c:v>786</c:v>
                </c:pt>
                <c:pt idx="205">
                  <c:v>754</c:v>
                </c:pt>
                <c:pt idx="206">
                  <c:v>724</c:v>
                </c:pt>
                <c:pt idx="207">
                  <c:v>667</c:v>
                </c:pt>
                <c:pt idx="208">
                  <c:v>658</c:v>
                </c:pt>
                <c:pt idx="209">
                  <c:v>676</c:v>
                </c:pt>
                <c:pt idx="210">
                  <c:v>629</c:v>
                </c:pt>
                <c:pt idx="211">
                  <c:v>593</c:v>
                </c:pt>
                <c:pt idx="212">
                  <c:v>568</c:v>
                </c:pt>
                <c:pt idx="213">
                  <c:v>514</c:v>
                </c:pt>
                <c:pt idx="214">
                  <c:v>488</c:v>
                </c:pt>
                <c:pt idx="215">
                  <c:v>487</c:v>
                </c:pt>
                <c:pt idx="216">
                  <c:v>486</c:v>
                </c:pt>
                <c:pt idx="217">
                  <c:v>441</c:v>
                </c:pt>
                <c:pt idx="218">
                  <c:v>431</c:v>
                </c:pt>
                <c:pt idx="219">
                  <c:v>414</c:v>
                </c:pt>
                <c:pt idx="220">
                  <c:v>379</c:v>
                </c:pt>
                <c:pt idx="221">
                  <c:v>358</c:v>
                </c:pt>
                <c:pt idx="222">
                  <c:v>353</c:v>
                </c:pt>
                <c:pt idx="223">
                  <c:v>357</c:v>
                </c:pt>
                <c:pt idx="224">
                  <c:v>323</c:v>
                </c:pt>
                <c:pt idx="225">
                  <c:v>294</c:v>
                </c:pt>
                <c:pt idx="226">
                  <c:v>277</c:v>
                </c:pt>
                <c:pt idx="227">
                  <c:v>259</c:v>
                </c:pt>
                <c:pt idx="228">
                  <c:v>256</c:v>
                </c:pt>
                <c:pt idx="229">
                  <c:v>254</c:v>
                </c:pt>
                <c:pt idx="230">
                  <c:v>266</c:v>
                </c:pt>
                <c:pt idx="231">
                  <c:v>254</c:v>
                </c:pt>
                <c:pt idx="232">
                  <c:v>223</c:v>
                </c:pt>
                <c:pt idx="233">
                  <c:v>204</c:v>
                </c:pt>
                <c:pt idx="234">
                  <c:v>197</c:v>
                </c:pt>
                <c:pt idx="235">
                  <c:v>185</c:v>
                </c:pt>
                <c:pt idx="236">
                  <c:v>182</c:v>
                </c:pt>
                <c:pt idx="237">
                  <c:v>184</c:v>
                </c:pt>
                <c:pt idx="238">
                  <c:v>177</c:v>
                </c:pt>
                <c:pt idx="239">
                  <c:v>171</c:v>
                </c:pt>
                <c:pt idx="240">
                  <c:v>166</c:v>
                </c:pt>
                <c:pt idx="241">
                  <c:v>162</c:v>
                </c:pt>
                <c:pt idx="242">
                  <c:v>152</c:v>
                </c:pt>
                <c:pt idx="243">
                  <c:v>151</c:v>
                </c:pt>
                <c:pt idx="244">
                  <c:v>153</c:v>
                </c:pt>
                <c:pt idx="245">
                  <c:v>139</c:v>
                </c:pt>
                <c:pt idx="246">
                  <c:v>131</c:v>
                </c:pt>
                <c:pt idx="247">
                  <c:v>126</c:v>
                </c:pt>
                <c:pt idx="248">
                  <c:v>123</c:v>
                </c:pt>
                <c:pt idx="249">
                  <c:v>112</c:v>
                </c:pt>
                <c:pt idx="250">
                  <c:v>113</c:v>
                </c:pt>
                <c:pt idx="251">
                  <c:v>118</c:v>
                </c:pt>
                <c:pt idx="252">
                  <c:v>114</c:v>
                </c:pt>
                <c:pt idx="253">
                  <c:v>107</c:v>
                </c:pt>
                <c:pt idx="254">
                  <c:v>106</c:v>
                </c:pt>
                <c:pt idx="255">
                  <c:v>105</c:v>
                </c:pt>
                <c:pt idx="256">
                  <c:v>100</c:v>
                </c:pt>
                <c:pt idx="257">
                  <c:v>99</c:v>
                </c:pt>
                <c:pt idx="258">
                  <c:v>102</c:v>
                </c:pt>
                <c:pt idx="259">
                  <c:v>99</c:v>
                </c:pt>
                <c:pt idx="260">
                  <c:v>96</c:v>
                </c:pt>
                <c:pt idx="261">
                  <c:v>94</c:v>
                </c:pt>
                <c:pt idx="262">
                  <c:v>93</c:v>
                </c:pt>
                <c:pt idx="263">
                  <c:v>89</c:v>
                </c:pt>
                <c:pt idx="264">
                  <c:v>88</c:v>
                </c:pt>
                <c:pt idx="265">
                  <c:v>91</c:v>
                </c:pt>
                <c:pt idx="266">
                  <c:v>88</c:v>
                </c:pt>
                <c:pt idx="267">
                  <c:v>84</c:v>
                </c:pt>
                <c:pt idx="268">
                  <c:v>81</c:v>
                </c:pt>
                <c:pt idx="269">
                  <c:v>78</c:v>
                </c:pt>
                <c:pt idx="270">
                  <c:v>76</c:v>
                </c:pt>
                <c:pt idx="271">
                  <c:v>73</c:v>
                </c:pt>
                <c:pt idx="272">
                  <c:v>71</c:v>
                </c:pt>
                <c:pt idx="273">
                  <c:v>67</c:v>
                </c:pt>
                <c:pt idx="274">
                  <c:v>67</c:v>
                </c:pt>
                <c:pt idx="275">
                  <c:v>62</c:v>
                </c:pt>
                <c:pt idx="276">
                  <c:v>57</c:v>
                </c:pt>
                <c:pt idx="277">
                  <c:v>56</c:v>
                </c:pt>
                <c:pt idx="278">
                  <c:v>56</c:v>
                </c:pt>
                <c:pt idx="279">
                  <c:v>55</c:v>
                </c:pt>
                <c:pt idx="280">
                  <c:v>53</c:v>
                </c:pt>
                <c:pt idx="281">
                  <c:v>50</c:v>
                </c:pt>
                <c:pt idx="282">
                  <c:v>49</c:v>
                </c:pt>
                <c:pt idx="283">
                  <c:v>50</c:v>
                </c:pt>
                <c:pt idx="284">
                  <c:v>47</c:v>
                </c:pt>
                <c:pt idx="285">
                  <c:v>47</c:v>
                </c:pt>
                <c:pt idx="286">
                  <c:v>47</c:v>
                </c:pt>
                <c:pt idx="287">
                  <c:v>47</c:v>
                </c:pt>
                <c:pt idx="288">
                  <c:v>47</c:v>
                </c:pt>
                <c:pt idx="289">
                  <c:v>46</c:v>
                </c:pt>
                <c:pt idx="290">
                  <c:v>46</c:v>
                </c:pt>
                <c:pt idx="291">
                  <c:v>46</c:v>
                </c:pt>
                <c:pt idx="292">
                  <c:v>46</c:v>
                </c:pt>
                <c:pt idx="293">
                  <c:v>46</c:v>
                </c:pt>
                <c:pt idx="294">
                  <c:v>46</c:v>
                </c:pt>
                <c:pt idx="295">
                  <c:v>47</c:v>
                </c:pt>
                <c:pt idx="296">
                  <c:v>47</c:v>
                </c:pt>
                <c:pt idx="297">
                  <c:v>45</c:v>
                </c:pt>
                <c:pt idx="298">
                  <c:v>45</c:v>
                </c:pt>
                <c:pt idx="299">
                  <c:v>45</c:v>
                </c:pt>
                <c:pt idx="300">
                  <c:v>45</c:v>
                </c:pt>
                <c:pt idx="301">
                  <c:v>45</c:v>
                </c:pt>
                <c:pt idx="302">
                  <c:v>45</c:v>
                </c:pt>
                <c:pt idx="303">
                  <c:v>46</c:v>
                </c:pt>
                <c:pt idx="304">
                  <c:v>44</c:v>
                </c:pt>
                <c:pt idx="305">
                  <c:v>44</c:v>
                </c:pt>
                <c:pt idx="306">
                  <c:v>45</c:v>
                </c:pt>
                <c:pt idx="307">
                  <c:v>45</c:v>
                </c:pt>
                <c:pt idx="308">
                  <c:v>45</c:v>
                </c:pt>
                <c:pt idx="309">
                  <c:v>45</c:v>
                </c:pt>
                <c:pt idx="310">
                  <c:v>44</c:v>
                </c:pt>
                <c:pt idx="311">
                  <c:v>44</c:v>
                </c:pt>
                <c:pt idx="312">
                  <c:v>44</c:v>
                </c:pt>
                <c:pt idx="313">
                  <c:v>45</c:v>
                </c:pt>
                <c:pt idx="314">
                  <c:v>45</c:v>
                </c:pt>
                <c:pt idx="315">
                  <c:v>45</c:v>
                </c:pt>
                <c:pt idx="316">
                  <c:v>45</c:v>
                </c:pt>
                <c:pt idx="317">
                  <c:v>45</c:v>
                </c:pt>
                <c:pt idx="318">
                  <c:v>44</c:v>
                </c:pt>
                <c:pt idx="319">
                  <c:v>44</c:v>
                </c:pt>
                <c:pt idx="320">
                  <c:v>44</c:v>
                </c:pt>
                <c:pt idx="321">
                  <c:v>44</c:v>
                </c:pt>
                <c:pt idx="322">
                  <c:v>43</c:v>
                </c:pt>
                <c:pt idx="323">
                  <c:v>44</c:v>
                </c:pt>
                <c:pt idx="324">
                  <c:v>43</c:v>
                </c:pt>
                <c:pt idx="325">
                  <c:v>43</c:v>
                </c:pt>
                <c:pt idx="326">
                  <c:v>43</c:v>
                </c:pt>
                <c:pt idx="327">
                  <c:v>42</c:v>
                </c:pt>
                <c:pt idx="328">
                  <c:v>41</c:v>
                </c:pt>
                <c:pt idx="329">
                  <c:v>42</c:v>
                </c:pt>
                <c:pt idx="330">
                  <c:v>43</c:v>
                </c:pt>
                <c:pt idx="331">
                  <c:v>43</c:v>
                </c:pt>
                <c:pt idx="332">
                  <c:v>42</c:v>
                </c:pt>
                <c:pt idx="333">
                  <c:v>42</c:v>
                </c:pt>
                <c:pt idx="334">
                  <c:v>42</c:v>
                </c:pt>
                <c:pt idx="335">
                  <c:v>42</c:v>
                </c:pt>
                <c:pt idx="336">
                  <c:v>41</c:v>
                </c:pt>
                <c:pt idx="337">
                  <c:v>41</c:v>
                </c:pt>
                <c:pt idx="338">
                  <c:v>40</c:v>
                </c:pt>
                <c:pt idx="339">
                  <c:v>40</c:v>
                </c:pt>
                <c:pt idx="340">
                  <c:v>40</c:v>
                </c:pt>
                <c:pt idx="341">
                  <c:v>41</c:v>
                </c:pt>
                <c:pt idx="342">
                  <c:v>41</c:v>
                </c:pt>
                <c:pt idx="343">
                  <c:v>40</c:v>
                </c:pt>
                <c:pt idx="344">
                  <c:v>40</c:v>
                </c:pt>
                <c:pt idx="345">
                  <c:v>40</c:v>
                </c:pt>
                <c:pt idx="346">
                  <c:v>40</c:v>
                </c:pt>
                <c:pt idx="347">
                  <c:v>40</c:v>
                </c:pt>
                <c:pt idx="348">
                  <c:v>40</c:v>
                </c:pt>
                <c:pt idx="349">
                  <c:v>41</c:v>
                </c:pt>
                <c:pt idx="350">
                  <c:v>41</c:v>
                </c:pt>
                <c:pt idx="351">
                  <c:v>41</c:v>
                </c:pt>
                <c:pt idx="352">
                  <c:v>42</c:v>
                </c:pt>
                <c:pt idx="353">
                  <c:v>41</c:v>
                </c:pt>
                <c:pt idx="354">
                  <c:v>41</c:v>
                </c:pt>
                <c:pt idx="355">
                  <c:v>41</c:v>
                </c:pt>
                <c:pt idx="356">
                  <c:v>44</c:v>
                </c:pt>
                <c:pt idx="357">
                  <c:v>44</c:v>
                </c:pt>
                <c:pt idx="358">
                  <c:v>44</c:v>
                </c:pt>
                <c:pt idx="359">
                  <c:v>44</c:v>
                </c:pt>
                <c:pt idx="360">
                  <c:v>45</c:v>
                </c:pt>
                <c:pt idx="361">
                  <c:v>44</c:v>
                </c:pt>
                <c:pt idx="362">
                  <c:v>44</c:v>
                </c:pt>
                <c:pt idx="363">
                  <c:v>44</c:v>
                </c:pt>
                <c:pt idx="364">
                  <c:v>44</c:v>
                </c:pt>
                <c:pt idx="365">
                  <c:v>47</c:v>
                </c:pt>
                <c:pt idx="366">
                  <c:v>52</c:v>
                </c:pt>
                <c:pt idx="367">
                  <c:v>55</c:v>
                </c:pt>
                <c:pt idx="368">
                  <c:v>56</c:v>
                </c:pt>
                <c:pt idx="369">
                  <c:v>55</c:v>
                </c:pt>
                <c:pt idx="370">
                  <c:v>60</c:v>
                </c:pt>
                <c:pt idx="371">
                  <c:v>58</c:v>
                </c:pt>
                <c:pt idx="372">
                  <c:v>59</c:v>
                </c:pt>
                <c:pt idx="373">
                  <c:v>60</c:v>
                </c:pt>
                <c:pt idx="374">
                  <c:v>60</c:v>
                </c:pt>
                <c:pt idx="375">
                  <c:v>59</c:v>
                </c:pt>
                <c:pt idx="376">
                  <c:v>58</c:v>
                </c:pt>
                <c:pt idx="377">
                  <c:v>59</c:v>
                </c:pt>
                <c:pt idx="378">
                  <c:v>60</c:v>
                </c:pt>
                <c:pt idx="379">
                  <c:v>59</c:v>
                </c:pt>
                <c:pt idx="380">
                  <c:v>58</c:v>
                </c:pt>
                <c:pt idx="381">
                  <c:v>55</c:v>
                </c:pt>
                <c:pt idx="382">
                  <c:v>53</c:v>
                </c:pt>
                <c:pt idx="383">
                  <c:v>53</c:v>
                </c:pt>
                <c:pt idx="384">
                  <c:v>58</c:v>
                </c:pt>
                <c:pt idx="385">
                  <c:v>56</c:v>
                </c:pt>
                <c:pt idx="386">
                  <c:v>57</c:v>
                </c:pt>
                <c:pt idx="387">
                  <c:v>55</c:v>
                </c:pt>
                <c:pt idx="388">
                  <c:v>55</c:v>
                </c:pt>
                <c:pt idx="389">
                  <c:v>56</c:v>
                </c:pt>
                <c:pt idx="390">
                  <c:v>56</c:v>
                </c:pt>
                <c:pt idx="391">
                  <c:v>62</c:v>
                </c:pt>
                <c:pt idx="392">
                  <c:v>62</c:v>
                </c:pt>
                <c:pt idx="393">
                  <c:v>68</c:v>
                </c:pt>
                <c:pt idx="394">
                  <c:v>69</c:v>
                </c:pt>
                <c:pt idx="395">
                  <c:v>71</c:v>
                </c:pt>
                <c:pt idx="396">
                  <c:v>71</c:v>
                </c:pt>
                <c:pt idx="397">
                  <c:v>71</c:v>
                </c:pt>
                <c:pt idx="398">
                  <c:v>75</c:v>
                </c:pt>
                <c:pt idx="399">
                  <c:v>79</c:v>
                </c:pt>
                <c:pt idx="400">
                  <c:v>87</c:v>
                </c:pt>
                <c:pt idx="401">
                  <c:v>87</c:v>
                </c:pt>
                <c:pt idx="402">
                  <c:v>113</c:v>
                </c:pt>
                <c:pt idx="403">
                  <c:v>114</c:v>
                </c:pt>
                <c:pt idx="404">
                  <c:v>112</c:v>
                </c:pt>
                <c:pt idx="405">
                  <c:v>115</c:v>
                </c:pt>
                <c:pt idx="406">
                  <c:v>111</c:v>
                </c:pt>
                <c:pt idx="407">
                  <c:v>130</c:v>
                </c:pt>
                <c:pt idx="408">
                  <c:v>128</c:v>
                </c:pt>
                <c:pt idx="409">
                  <c:v>133</c:v>
                </c:pt>
                <c:pt idx="410">
                  <c:v>133</c:v>
                </c:pt>
                <c:pt idx="411">
                  <c:v>133</c:v>
                </c:pt>
                <c:pt idx="412">
                  <c:v>149</c:v>
                </c:pt>
                <c:pt idx="413">
                  <c:v>152</c:v>
                </c:pt>
                <c:pt idx="414">
                  <c:v>155</c:v>
                </c:pt>
                <c:pt idx="415">
                  <c:v>158</c:v>
                </c:pt>
                <c:pt idx="416">
                  <c:v>147</c:v>
                </c:pt>
                <c:pt idx="417">
                  <c:v>142</c:v>
                </c:pt>
                <c:pt idx="418">
                  <c:v>143</c:v>
                </c:pt>
                <c:pt idx="419">
                  <c:v>171</c:v>
                </c:pt>
                <c:pt idx="420">
                  <c:v>181</c:v>
                </c:pt>
                <c:pt idx="421">
                  <c:v>199</c:v>
                </c:pt>
                <c:pt idx="422">
                  <c:v>184</c:v>
                </c:pt>
                <c:pt idx="423">
                  <c:v>207</c:v>
                </c:pt>
                <c:pt idx="424">
                  <c:v>209</c:v>
                </c:pt>
                <c:pt idx="425">
                  <c:v>219</c:v>
                </c:pt>
                <c:pt idx="426">
                  <c:v>281</c:v>
                </c:pt>
                <c:pt idx="427">
                  <c:v>307</c:v>
                </c:pt>
                <c:pt idx="428">
                  <c:v>318</c:v>
                </c:pt>
                <c:pt idx="429">
                  <c:v>365</c:v>
                </c:pt>
                <c:pt idx="430">
                  <c:v>401</c:v>
                </c:pt>
                <c:pt idx="431">
                  <c:v>408</c:v>
                </c:pt>
                <c:pt idx="432">
                  <c:v>408</c:v>
                </c:pt>
                <c:pt idx="433">
                  <c:v>457</c:v>
                </c:pt>
                <c:pt idx="434">
                  <c:v>493</c:v>
                </c:pt>
                <c:pt idx="435">
                  <c:v>517</c:v>
                </c:pt>
                <c:pt idx="436">
                  <c:v>561</c:v>
                </c:pt>
                <c:pt idx="437">
                  <c:v>604</c:v>
                </c:pt>
                <c:pt idx="438">
                  <c:v>608</c:v>
                </c:pt>
                <c:pt idx="439">
                  <c:v>611</c:v>
                </c:pt>
                <c:pt idx="440">
                  <c:v>658</c:v>
                </c:pt>
                <c:pt idx="441">
                  <c:v>691</c:v>
                </c:pt>
                <c:pt idx="442">
                  <c:v>694</c:v>
                </c:pt>
                <c:pt idx="443">
                  <c:v>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0</c:v>
                </c:pt>
                <c:pt idx="55">
                  <c:v>10</c:v>
                </c:pt>
                <c:pt idx="56">
                  <c:v>16</c:v>
                </c:pt>
                <c:pt idx="57">
                  <c:v>8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1</c:v>
                </c:pt>
                <c:pt idx="62">
                  <c:v>31</c:v>
                </c:pt>
                <c:pt idx="63">
                  <c:v>29</c:v>
                </c:pt>
                <c:pt idx="64">
                  <c:v>38</c:v>
                </c:pt>
                <c:pt idx="65">
                  <c:v>46</c:v>
                </c:pt>
                <c:pt idx="66">
                  <c:v>33</c:v>
                </c:pt>
                <c:pt idx="67">
                  <c:v>48</c:v>
                </c:pt>
                <c:pt idx="68">
                  <c:v>61</c:v>
                </c:pt>
                <c:pt idx="69">
                  <c:v>72</c:v>
                </c:pt>
                <c:pt idx="70">
                  <c:v>59</c:v>
                </c:pt>
                <c:pt idx="71">
                  <c:v>82</c:v>
                </c:pt>
                <c:pt idx="72">
                  <c:v>79</c:v>
                </c:pt>
                <c:pt idx="73">
                  <c:v>98</c:v>
                </c:pt>
                <c:pt idx="74">
                  <c:v>109</c:v>
                </c:pt>
                <c:pt idx="75">
                  <c:v>112</c:v>
                </c:pt>
                <c:pt idx="76">
                  <c:v>121</c:v>
                </c:pt>
                <c:pt idx="77">
                  <c:v>102</c:v>
                </c:pt>
                <c:pt idx="78">
                  <c:v>125</c:v>
                </c:pt>
                <c:pt idx="79">
                  <c:v>133</c:v>
                </c:pt>
                <c:pt idx="80">
                  <c:v>148</c:v>
                </c:pt>
                <c:pt idx="81">
                  <c:v>174</c:v>
                </c:pt>
                <c:pt idx="82">
                  <c:v>155</c:v>
                </c:pt>
                <c:pt idx="83">
                  <c:v>195</c:v>
                </c:pt>
                <c:pt idx="84">
                  <c:v>192</c:v>
                </c:pt>
                <c:pt idx="85">
                  <c:v>175</c:v>
                </c:pt>
                <c:pt idx="86">
                  <c:v>175</c:v>
                </c:pt>
                <c:pt idx="87">
                  <c:v>150</c:v>
                </c:pt>
                <c:pt idx="88">
                  <c:v>100</c:v>
                </c:pt>
                <c:pt idx="89">
                  <c:v>87</c:v>
                </c:pt>
                <c:pt idx="90">
                  <c:v>61</c:v>
                </c:pt>
                <c:pt idx="91">
                  <c:v>57</c:v>
                </c:pt>
                <c:pt idx="92">
                  <c:v>51</c:v>
                </c:pt>
                <c:pt idx="93">
                  <c:v>29</c:v>
                </c:pt>
                <c:pt idx="94">
                  <c:v>22</c:v>
                </c:pt>
                <c:pt idx="95">
                  <c:v>9</c:v>
                </c:pt>
                <c:pt idx="96">
                  <c:v>4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6</c:v>
                </c:pt>
                <c:pt idx="5">
                  <c:v>2</c:v>
                </c:pt>
                <c:pt idx="6">
                  <c:v>13</c:v>
                </c:pt>
                <c:pt idx="7">
                  <c:v>12</c:v>
                </c:pt>
                <c:pt idx="8">
                  <c:v>17</c:v>
                </c:pt>
                <c:pt idx="9">
                  <c:v>17</c:v>
                </c:pt>
                <c:pt idx="10">
                  <c:v>10</c:v>
                </c:pt>
                <c:pt idx="11">
                  <c:v>27</c:v>
                </c:pt>
                <c:pt idx="12">
                  <c:v>12</c:v>
                </c:pt>
                <c:pt idx="13">
                  <c:v>20</c:v>
                </c:pt>
                <c:pt idx="14">
                  <c:v>22</c:v>
                </c:pt>
                <c:pt idx="15">
                  <c:v>32</c:v>
                </c:pt>
                <c:pt idx="16">
                  <c:v>24</c:v>
                </c:pt>
                <c:pt idx="17">
                  <c:v>23</c:v>
                </c:pt>
                <c:pt idx="18">
                  <c:v>34</c:v>
                </c:pt>
                <c:pt idx="19">
                  <c:v>41</c:v>
                </c:pt>
                <c:pt idx="20">
                  <c:v>48</c:v>
                </c:pt>
                <c:pt idx="21">
                  <c:v>57</c:v>
                </c:pt>
                <c:pt idx="22">
                  <c:v>52</c:v>
                </c:pt>
                <c:pt idx="23">
                  <c:v>68</c:v>
                </c:pt>
                <c:pt idx="24">
                  <c:v>57</c:v>
                </c:pt>
                <c:pt idx="25">
                  <c:v>67</c:v>
                </c:pt>
                <c:pt idx="26">
                  <c:v>78</c:v>
                </c:pt>
                <c:pt idx="27">
                  <c:v>74</c:v>
                </c:pt>
                <c:pt idx="28">
                  <c:v>79</c:v>
                </c:pt>
                <c:pt idx="29">
                  <c:v>90</c:v>
                </c:pt>
                <c:pt idx="30">
                  <c:v>83</c:v>
                </c:pt>
                <c:pt idx="31">
                  <c:v>76</c:v>
                </c:pt>
                <c:pt idx="32">
                  <c:v>89</c:v>
                </c:pt>
                <c:pt idx="33">
                  <c:v>120</c:v>
                </c:pt>
                <c:pt idx="34">
                  <c:v>97</c:v>
                </c:pt>
                <c:pt idx="35">
                  <c:v>121</c:v>
                </c:pt>
                <c:pt idx="36">
                  <c:v>140</c:v>
                </c:pt>
                <c:pt idx="37">
                  <c:v>117</c:v>
                </c:pt>
                <c:pt idx="38">
                  <c:v>123</c:v>
                </c:pt>
                <c:pt idx="39">
                  <c:v>145</c:v>
                </c:pt>
                <c:pt idx="40">
                  <c:v>141</c:v>
                </c:pt>
                <c:pt idx="41">
                  <c:v>144</c:v>
                </c:pt>
                <c:pt idx="42">
                  <c:v>148</c:v>
                </c:pt>
                <c:pt idx="43">
                  <c:v>124</c:v>
                </c:pt>
                <c:pt idx="44">
                  <c:v>128</c:v>
                </c:pt>
                <c:pt idx="45">
                  <c:v>130</c:v>
                </c:pt>
                <c:pt idx="46">
                  <c:v>159</c:v>
                </c:pt>
                <c:pt idx="47">
                  <c:v>118</c:v>
                </c:pt>
                <c:pt idx="48">
                  <c:v>135</c:v>
                </c:pt>
                <c:pt idx="49">
                  <c:v>158</c:v>
                </c:pt>
                <c:pt idx="50">
                  <c:v>175</c:v>
                </c:pt>
                <c:pt idx="51">
                  <c:v>164</c:v>
                </c:pt>
                <c:pt idx="52">
                  <c:v>161</c:v>
                </c:pt>
                <c:pt idx="53">
                  <c:v>138</c:v>
                </c:pt>
                <c:pt idx="54">
                  <c:v>172</c:v>
                </c:pt>
                <c:pt idx="55">
                  <c:v>197</c:v>
                </c:pt>
                <c:pt idx="56">
                  <c:v>200</c:v>
                </c:pt>
                <c:pt idx="57">
                  <c:v>209</c:v>
                </c:pt>
                <c:pt idx="58">
                  <c:v>254</c:v>
                </c:pt>
                <c:pt idx="59">
                  <c:v>280</c:v>
                </c:pt>
                <c:pt idx="60">
                  <c:v>267</c:v>
                </c:pt>
                <c:pt idx="61">
                  <c:v>297</c:v>
                </c:pt>
                <c:pt idx="62">
                  <c:v>309</c:v>
                </c:pt>
                <c:pt idx="63">
                  <c:v>333</c:v>
                </c:pt>
                <c:pt idx="64">
                  <c:v>407</c:v>
                </c:pt>
                <c:pt idx="65">
                  <c:v>412</c:v>
                </c:pt>
                <c:pt idx="66">
                  <c:v>421</c:v>
                </c:pt>
                <c:pt idx="67">
                  <c:v>514</c:v>
                </c:pt>
                <c:pt idx="68">
                  <c:v>556</c:v>
                </c:pt>
                <c:pt idx="69">
                  <c:v>590</c:v>
                </c:pt>
                <c:pt idx="70">
                  <c:v>531</c:v>
                </c:pt>
                <c:pt idx="71">
                  <c:v>674</c:v>
                </c:pt>
                <c:pt idx="72">
                  <c:v>690</c:v>
                </c:pt>
                <c:pt idx="73">
                  <c:v>729</c:v>
                </c:pt>
                <c:pt idx="74">
                  <c:v>784</c:v>
                </c:pt>
                <c:pt idx="75">
                  <c:v>845</c:v>
                </c:pt>
                <c:pt idx="76">
                  <c:v>838</c:v>
                </c:pt>
                <c:pt idx="77">
                  <c:v>863</c:v>
                </c:pt>
                <c:pt idx="78">
                  <c:v>962</c:v>
                </c:pt>
                <c:pt idx="79">
                  <c:v>933</c:v>
                </c:pt>
                <c:pt idx="80">
                  <c:v>1082</c:v>
                </c:pt>
                <c:pt idx="81">
                  <c:v>1114</c:v>
                </c:pt>
                <c:pt idx="82">
                  <c:v>1138</c:v>
                </c:pt>
                <c:pt idx="83">
                  <c:v>1229</c:v>
                </c:pt>
                <c:pt idx="84">
                  <c:v>1151</c:v>
                </c:pt>
                <c:pt idx="85">
                  <c:v>1144</c:v>
                </c:pt>
                <c:pt idx="86">
                  <c:v>987</c:v>
                </c:pt>
                <c:pt idx="87">
                  <c:v>873</c:v>
                </c:pt>
                <c:pt idx="88">
                  <c:v>707</c:v>
                </c:pt>
                <c:pt idx="89">
                  <c:v>506</c:v>
                </c:pt>
                <c:pt idx="90">
                  <c:v>398</c:v>
                </c:pt>
                <c:pt idx="91">
                  <c:v>303</c:v>
                </c:pt>
                <c:pt idx="92">
                  <c:v>229</c:v>
                </c:pt>
                <c:pt idx="93">
                  <c:v>148</c:v>
                </c:pt>
                <c:pt idx="94">
                  <c:v>88</c:v>
                </c:pt>
                <c:pt idx="95">
                  <c:v>42</c:v>
                </c:pt>
                <c:pt idx="96">
                  <c:v>27</c:v>
                </c:pt>
                <c:pt idx="97">
                  <c:v>6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Sheet1!$B$2:$B$445</c:f>
              <c:numCache>
                <c:formatCode>#\ ##0_ ;\-#\ ##0\ </c:formatCode>
                <c:ptCount val="444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0</c:v>
                </c:pt>
                <c:pt idx="31">
                  <c:v>60</c:v>
                </c:pt>
                <c:pt idx="32">
                  <c:v>36</c:v>
                </c:pt>
                <c:pt idx="33">
                  <c:v>54</c:v>
                </c:pt>
                <c:pt idx="34">
                  <c:v>140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0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196</c:v>
                </c:pt>
                <c:pt idx="50">
                  <c:v>326</c:v>
                </c:pt>
                <c:pt idx="51">
                  <c:v>226</c:v>
                </c:pt>
                <c:pt idx="52">
                  <c:v>415</c:v>
                </c:pt>
                <c:pt idx="53">
                  <c:v>227</c:v>
                </c:pt>
                <c:pt idx="54">
                  <c:v>194</c:v>
                </c:pt>
                <c:pt idx="55">
                  <c:v>387</c:v>
                </c:pt>
                <c:pt idx="56">
                  <c:v>521</c:v>
                </c:pt>
                <c:pt idx="57">
                  <c:v>260</c:v>
                </c:pt>
                <c:pt idx="58">
                  <c:v>535</c:v>
                </c:pt>
                <c:pt idx="59">
                  <c:v>587</c:v>
                </c:pt>
                <c:pt idx="60">
                  <c:v>336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7</c:v>
                </c:pt>
                <c:pt idx="67">
                  <c:v>214</c:v>
                </c:pt>
                <c:pt idx="68">
                  <c:v>78</c:v>
                </c:pt>
                <c:pt idx="69">
                  <c:v>202</c:v>
                </c:pt>
                <c:pt idx="70">
                  <c:v>385</c:v>
                </c:pt>
                <c:pt idx="71">
                  <c:v>675</c:v>
                </c:pt>
                <c:pt idx="72">
                  <c:v>498</c:v>
                </c:pt>
                <c:pt idx="73">
                  <c:v>480</c:v>
                </c:pt>
                <c:pt idx="74">
                  <c:v>179</c:v>
                </c:pt>
                <c:pt idx="75">
                  <c:v>164</c:v>
                </c:pt>
                <c:pt idx="76">
                  <c:v>381</c:v>
                </c:pt>
                <c:pt idx="77">
                  <c:v>137</c:v>
                </c:pt>
                <c:pt idx="78">
                  <c:v>269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9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5</c:v>
                </c:pt>
                <c:pt idx="91">
                  <c:v>123</c:v>
                </c:pt>
                <c:pt idx="92">
                  <c:v>132</c:v>
                </c:pt>
                <c:pt idx="93">
                  <c:v>132</c:v>
                </c:pt>
                <c:pt idx="94">
                  <c:v>140</c:v>
                </c:pt>
                <c:pt idx="95">
                  <c:v>88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50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3</c:v>
                </c:pt>
                <c:pt idx="109">
                  <c:v>60</c:v>
                </c:pt>
                <c:pt idx="110">
                  <c:v>21</c:v>
                </c:pt>
                <c:pt idx="111">
                  <c:v>179</c:v>
                </c:pt>
                <c:pt idx="112">
                  <c:v>174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7</c:v>
                </c:pt>
                <c:pt idx="117">
                  <c:v>97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8</c:v>
                </c:pt>
                <c:pt idx="126">
                  <c:v>152</c:v>
                </c:pt>
                <c:pt idx="127">
                  <c:v>164</c:v>
                </c:pt>
                <c:pt idx="128">
                  <c:v>232</c:v>
                </c:pt>
                <c:pt idx="129">
                  <c:v>184</c:v>
                </c:pt>
                <c:pt idx="130">
                  <c:v>61</c:v>
                </c:pt>
                <c:pt idx="131">
                  <c:v>29</c:v>
                </c:pt>
                <c:pt idx="132">
                  <c:v>238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5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8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4</c:v>
                </c:pt>
                <c:pt idx="146">
                  <c:v>85</c:v>
                </c:pt>
                <c:pt idx="147">
                  <c:v>41</c:v>
                </c:pt>
                <c:pt idx="148">
                  <c:v>94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3</c:v>
                </c:pt>
                <c:pt idx="161">
                  <c:v>65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8</c:v>
                </c:pt>
                <c:pt idx="169">
                  <c:v>30</c:v>
                </c:pt>
                <c:pt idx="170">
                  <c:v>27</c:v>
                </c:pt>
                <c:pt idx="171">
                  <c:v>26</c:v>
                </c:pt>
                <c:pt idx="172">
                  <c:v>18</c:v>
                </c:pt>
                <c:pt idx="173">
                  <c:v>5</c:v>
                </c:pt>
                <c:pt idx="174">
                  <c:v>90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2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1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6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9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0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0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27</c:v>
                </c:pt>
                <c:pt idx="427">
                  <c:v>19</c:v>
                </c:pt>
                <c:pt idx="428">
                  <c:v>11</c:v>
                </c:pt>
                <c:pt idx="429">
                  <c:v>37</c:v>
                </c:pt>
                <c:pt idx="430">
                  <c:v>28</c:v>
                </c:pt>
                <c:pt idx="431">
                  <c:v>9</c:v>
                </c:pt>
                <c:pt idx="432">
                  <c:v>5</c:v>
                </c:pt>
                <c:pt idx="433">
                  <c:v>24</c:v>
                </c:pt>
                <c:pt idx="434">
                  <c:v>32</c:v>
                </c:pt>
                <c:pt idx="435">
                  <c:v>17</c:v>
                </c:pt>
                <c:pt idx="436">
                  <c:v>24</c:v>
                </c:pt>
                <c:pt idx="437">
                  <c:v>20</c:v>
                </c:pt>
                <c:pt idx="438">
                  <c:v>13</c:v>
                </c:pt>
                <c:pt idx="439">
                  <c:v>5</c:v>
                </c:pt>
                <c:pt idx="440">
                  <c:v>33</c:v>
                </c:pt>
                <c:pt idx="441">
                  <c:v>22</c:v>
                </c:pt>
                <c:pt idx="442">
                  <c:v>17</c:v>
                </c:pt>
                <c:pt idx="44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Sheet1!$B$2:$B$445</c:f>
              <c:numCache>
                <c:formatCode>#\ ##0_ ;\-#\ ##0\ </c:formatCode>
                <c:ptCount val="44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2</c:v>
                </c:pt>
                <c:pt idx="29">
                  <c:v>10</c:v>
                </c:pt>
                <c:pt idx="30">
                  <c:v>30</c:v>
                </c:pt>
                <c:pt idx="31">
                  <c:v>92</c:v>
                </c:pt>
                <c:pt idx="32">
                  <c:v>31</c:v>
                </c:pt>
                <c:pt idx="33">
                  <c:v>29</c:v>
                </c:pt>
                <c:pt idx="34">
                  <c:v>77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6</c:v>
                </c:pt>
                <c:pt idx="39">
                  <c:v>51</c:v>
                </c:pt>
                <c:pt idx="40">
                  <c:v>25</c:v>
                </c:pt>
                <c:pt idx="41">
                  <c:v>154</c:v>
                </c:pt>
                <c:pt idx="42">
                  <c:v>153</c:v>
                </c:pt>
                <c:pt idx="43">
                  <c:v>190</c:v>
                </c:pt>
                <c:pt idx="44">
                  <c:v>195</c:v>
                </c:pt>
                <c:pt idx="45">
                  <c:v>210</c:v>
                </c:pt>
                <c:pt idx="46">
                  <c:v>103</c:v>
                </c:pt>
                <c:pt idx="47">
                  <c:v>48</c:v>
                </c:pt>
                <c:pt idx="48">
                  <c:v>187</c:v>
                </c:pt>
                <c:pt idx="49">
                  <c:v>192</c:v>
                </c:pt>
                <c:pt idx="50">
                  <c:v>256</c:v>
                </c:pt>
                <c:pt idx="51">
                  <c:v>234</c:v>
                </c:pt>
                <c:pt idx="52">
                  <c:v>333</c:v>
                </c:pt>
                <c:pt idx="53">
                  <c:v>187</c:v>
                </c:pt>
                <c:pt idx="54">
                  <c:v>90</c:v>
                </c:pt>
                <c:pt idx="55">
                  <c:v>371</c:v>
                </c:pt>
                <c:pt idx="56">
                  <c:v>396</c:v>
                </c:pt>
                <c:pt idx="57">
                  <c:v>133</c:v>
                </c:pt>
                <c:pt idx="58">
                  <c:v>468</c:v>
                </c:pt>
                <c:pt idx="59">
                  <c:v>331</c:v>
                </c:pt>
                <c:pt idx="60">
                  <c:v>182</c:v>
                </c:pt>
                <c:pt idx="61">
                  <c:v>116</c:v>
                </c:pt>
                <c:pt idx="62">
                  <c:v>294</c:v>
                </c:pt>
                <c:pt idx="63">
                  <c:v>229</c:v>
                </c:pt>
                <c:pt idx="64">
                  <c:v>326</c:v>
                </c:pt>
                <c:pt idx="65">
                  <c:v>278</c:v>
                </c:pt>
                <c:pt idx="66">
                  <c:v>239</c:v>
                </c:pt>
                <c:pt idx="67">
                  <c:v>116</c:v>
                </c:pt>
                <c:pt idx="68">
                  <c:v>47</c:v>
                </c:pt>
                <c:pt idx="69">
                  <c:v>196</c:v>
                </c:pt>
                <c:pt idx="70">
                  <c:v>202</c:v>
                </c:pt>
                <c:pt idx="71">
                  <c:v>261</c:v>
                </c:pt>
                <c:pt idx="72">
                  <c:v>229</c:v>
                </c:pt>
                <c:pt idx="73">
                  <c:v>204</c:v>
                </c:pt>
                <c:pt idx="74">
                  <c:v>72</c:v>
                </c:pt>
                <c:pt idx="75">
                  <c:v>30</c:v>
                </c:pt>
                <c:pt idx="76">
                  <c:v>175</c:v>
                </c:pt>
                <c:pt idx="77">
                  <c:v>46</c:v>
                </c:pt>
                <c:pt idx="78">
                  <c:v>161</c:v>
                </c:pt>
                <c:pt idx="79">
                  <c:v>125</c:v>
                </c:pt>
                <c:pt idx="80">
                  <c:v>120</c:v>
                </c:pt>
                <c:pt idx="81">
                  <c:v>34</c:v>
                </c:pt>
                <c:pt idx="82">
                  <c:v>17</c:v>
                </c:pt>
                <c:pt idx="83">
                  <c:v>140</c:v>
                </c:pt>
                <c:pt idx="84">
                  <c:v>105</c:v>
                </c:pt>
                <c:pt idx="85">
                  <c:v>92</c:v>
                </c:pt>
                <c:pt idx="86">
                  <c:v>54</c:v>
                </c:pt>
                <c:pt idx="87">
                  <c:v>81</c:v>
                </c:pt>
                <c:pt idx="88">
                  <c:v>23</c:v>
                </c:pt>
                <c:pt idx="89">
                  <c:v>15</c:v>
                </c:pt>
                <c:pt idx="90">
                  <c:v>108</c:v>
                </c:pt>
                <c:pt idx="91">
                  <c:v>85</c:v>
                </c:pt>
                <c:pt idx="92">
                  <c:v>66</c:v>
                </c:pt>
                <c:pt idx="93">
                  <c:v>55</c:v>
                </c:pt>
                <c:pt idx="94">
                  <c:v>89</c:v>
                </c:pt>
                <c:pt idx="95">
                  <c:v>39</c:v>
                </c:pt>
                <c:pt idx="96">
                  <c:v>24</c:v>
                </c:pt>
                <c:pt idx="97">
                  <c:v>121</c:v>
                </c:pt>
                <c:pt idx="98">
                  <c:v>76</c:v>
                </c:pt>
                <c:pt idx="99">
                  <c:v>62</c:v>
                </c:pt>
                <c:pt idx="100">
                  <c:v>60</c:v>
                </c:pt>
                <c:pt idx="101">
                  <c:v>78</c:v>
                </c:pt>
                <c:pt idx="102">
                  <c:v>21</c:v>
                </c:pt>
                <c:pt idx="103">
                  <c:v>16</c:v>
                </c:pt>
                <c:pt idx="104">
                  <c:v>130</c:v>
                </c:pt>
                <c:pt idx="105">
                  <c:v>72</c:v>
                </c:pt>
                <c:pt idx="106">
                  <c:v>94</c:v>
                </c:pt>
                <c:pt idx="107">
                  <c:v>51</c:v>
                </c:pt>
                <c:pt idx="108">
                  <c:v>77</c:v>
                </c:pt>
                <c:pt idx="109">
                  <c:v>27</c:v>
                </c:pt>
                <c:pt idx="110">
                  <c:v>27</c:v>
                </c:pt>
                <c:pt idx="111">
                  <c:v>157</c:v>
                </c:pt>
                <c:pt idx="112">
                  <c:v>110</c:v>
                </c:pt>
                <c:pt idx="113">
                  <c:v>114</c:v>
                </c:pt>
                <c:pt idx="114">
                  <c:v>27</c:v>
                </c:pt>
                <c:pt idx="115">
                  <c:v>44</c:v>
                </c:pt>
                <c:pt idx="116">
                  <c:v>49</c:v>
                </c:pt>
                <c:pt idx="117">
                  <c:v>46</c:v>
                </c:pt>
                <c:pt idx="118">
                  <c:v>189</c:v>
                </c:pt>
                <c:pt idx="119">
                  <c:v>145</c:v>
                </c:pt>
                <c:pt idx="120">
                  <c:v>110</c:v>
                </c:pt>
                <c:pt idx="121">
                  <c:v>84</c:v>
                </c:pt>
                <c:pt idx="122">
                  <c:v>28</c:v>
                </c:pt>
                <c:pt idx="123">
                  <c:v>57</c:v>
                </c:pt>
                <c:pt idx="124">
                  <c:v>35</c:v>
                </c:pt>
                <c:pt idx="125">
                  <c:v>266</c:v>
                </c:pt>
                <c:pt idx="126">
                  <c:v>143</c:v>
                </c:pt>
                <c:pt idx="127">
                  <c:v>111</c:v>
                </c:pt>
                <c:pt idx="128">
                  <c:v>98</c:v>
                </c:pt>
                <c:pt idx="129">
                  <c:v>120</c:v>
                </c:pt>
                <c:pt idx="130">
                  <c:v>48</c:v>
                </c:pt>
                <c:pt idx="131">
                  <c:v>24</c:v>
                </c:pt>
                <c:pt idx="132">
                  <c:v>226</c:v>
                </c:pt>
                <c:pt idx="133">
                  <c:v>95</c:v>
                </c:pt>
                <c:pt idx="134">
                  <c:v>106</c:v>
                </c:pt>
                <c:pt idx="135">
                  <c:v>53</c:v>
                </c:pt>
                <c:pt idx="136">
                  <c:v>65</c:v>
                </c:pt>
                <c:pt idx="137">
                  <c:v>31</c:v>
                </c:pt>
                <c:pt idx="138">
                  <c:v>26</c:v>
                </c:pt>
                <c:pt idx="139">
                  <c:v>123</c:v>
                </c:pt>
                <c:pt idx="140">
                  <c:v>74</c:v>
                </c:pt>
                <c:pt idx="141">
                  <c:v>71</c:v>
                </c:pt>
                <c:pt idx="142">
                  <c:v>58</c:v>
                </c:pt>
                <c:pt idx="143">
                  <c:v>78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8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78</c:v>
                </c:pt>
                <c:pt idx="154">
                  <c:v>67</c:v>
                </c:pt>
                <c:pt idx="155">
                  <c:v>54</c:v>
                </c:pt>
                <c:pt idx="156">
                  <c:v>41</c:v>
                </c:pt>
                <c:pt idx="157">
                  <c:v>46</c:v>
                </c:pt>
                <c:pt idx="158">
                  <c:v>10</c:v>
                </c:pt>
                <c:pt idx="159">
                  <c:v>17</c:v>
                </c:pt>
                <c:pt idx="160">
                  <c:v>68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2</c:v>
                </c:pt>
                <c:pt idx="168">
                  <c:v>33</c:v>
                </c:pt>
                <c:pt idx="169">
                  <c:v>36</c:v>
                </c:pt>
                <c:pt idx="170">
                  <c:v>28</c:v>
                </c:pt>
                <c:pt idx="171">
                  <c:v>33</c:v>
                </c:pt>
                <c:pt idx="172">
                  <c:v>6</c:v>
                </c:pt>
                <c:pt idx="173">
                  <c:v>18</c:v>
                </c:pt>
                <c:pt idx="174">
                  <c:v>70</c:v>
                </c:pt>
                <c:pt idx="175">
                  <c:v>44</c:v>
                </c:pt>
                <c:pt idx="176">
                  <c:v>34</c:v>
                </c:pt>
                <c:pt idx="177">
                  <c:v>31</c:v>
                </c:pt>
                <c:pt idx="178">
                  <c:v>38</c:v>
                </c:pt>
                <c:pt idx="179">
                  <c:v>9</c:v>
                </c:pt>
                <c:pt idx="180">
                  <c:v>9</c:v>
                </c:pt>
                <c:pt idx="181">
                  <c:v>56</c:v>
                </c:pt>
                <c:pt idx="182">
                  <c:v>38</c:v>
                </c:pt>
                <c:pt idx="183">
                  <c:v>55</c:v>
                </c:pt>
                <c:pt idx="184">
                  <c:v>35</c:v>
                </c:pt>
                <c:pt idx="185">
                  <c:v>28</c:v>
                </c:pt>
                <c:pt idx="186">
                  <c:v>14</c:v>
                </c:pt>
                <c:pt idx="187">
                  <c:v>9</c:v>
                </c:pt>
                <c:pt idx="188">
                  <c:v>59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27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8</c:v>
                </c:pt>
                <c:pt idx="210">
                  <c:v>13</c:v>
                </c:pt>
                <c:pt idx="211">
                  <c:v>13</c:v>
                </c:pt>
                <c:pt idx="212">
                  <c:v>11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4</c:v>
                </c:pt>
                <c:pt idx="217">
                  <c:v>20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5</c:v>
                </c:pt>
                <c:pt idx="238">
                  <c:v>5</c:v>
                </c:pt>
                <c:pt idx="239">
                  <c:v>2</c:v>
                </c:pt>
                <c:pt idx="240">
                  <c:v>2</c:v>
                </c:pt>
                <c:pt idx="241">
                  <c:v>4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7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6</c:v>
                </c:pt>
                <c:pt idx="420">
                  <c:v>5</c:v>
                </c:pt>
                <c:pt idx="421">
                  <c:v>14</c:v>
                </c:pt>
                <c:pt idx="422">
                  <c:v>3</c:v>
                </c:pt>
                <c:pt idx="423">
                  <c:v>8</c:v>
                </c:pt>
                <c:pt idx="424">
                  <c:v>4</c:v>
                </c:pt>
                <c:pt idx="425">
                  <c:v>4</c:v>
                </c:pt>
                <c:pt idx="426">
                  <c:v>35</c:v>
                </c:pt>
                <c:pt idx="427">
                  <c:v>25</c:v>
                </c:pt>
                <c:pt idx="428">
                  <c:v>19</c:v>
                </c:pt>
                <c:pt idx="429">
                  <c:v>26</c:v>
                </c:pt>
                <c:pt idx="430">
                  <c:v>22</c:v>
                </c:pt>
                <c:pt idx="431">
                  <c:v>16</c:v>
                </c:pt>
                <c:pt idx="432">
                  <c:v>4</c:v>
                </c:pt>
                <c:pt idx="433">
                  <c:v>34</c:v>
                </c:pt>
                <c:pt idx="434">
                  <c:v>32</c:v>
                </c:pt>
                <c:pt idx="435">
                  <c:v>35</c:v>
                </c:pt>
                <c:pt idx="436">
                  <c:v>41</c:v>
                </c:pt>
                <c:pt idx="437">
                  <c:v>33</c:v>
                </c:pt>
                <c:pt idx="438">
                  <c:v>21</c:v>
                </c:pt>
                <c:pt idx="439">
                  <c:v>14</c:v>
                </c:pt>
                <c:pt idx="440">
                  <c:v>39</c:v>
                </c:pt>
                <c:pt idx="441">
                  <c:v>45</c:v>
                </c:pt>
                <c:pt idx="442">
                  <c:v>13</c:v>
                </c:pt>
                <c:pt idx="44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Sheet1!$B$2:$B$445</c:f>
              <c:numCache>
                <c:formatCode>#\ ##0_ ;\-#\ ##0\ </c:formatCode>
                <c:ptCount val="444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7</c:v>
                </c:pt>
                <c:pt idx="29">
                  <c:v>38</c:v>
                </c:pt>
                <c:pt idx="30">
                  <c:v>60</c:v>
                </c:pt>
                <c:pt idx="31">
                  <c:v>152</c:v>
                </c:pt>
                <c:pt idx="32">
                  <c:v>67</c:v>
                </c:pt>
                <c:pt idx="33">
                  <c:v>83</c:v>
                </c:pt>
                <c:pt idx="34">
                  <c:v>217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5</c:v>
                </c:pt>
                <c:pt idx="39">
                  <c:v>81</c:v>
                </c:pt>
                <c:pt idx="40">
                  <c:v>36</c:v>
                </c:pt>
                <c:pt idx="41">
                  <c:v>292</c:v>
                </c:pt>
                <c:pt idx="42">
                  <c:v>375</c:v>
                </c:pt>
                <c:pt idx="43">
                  <c:v>371</c:v>
                </c:pt>
                <c:pt idx="44">
                  <c:v>385</c:v>
                </c:pt>
                <c:pt idx="45">
                  <c:v>415</c:v>
                </c:pt>
                <c:pt idx="46">
                  <c:v>258</c:v>
                </c:pt>
                <c:pt idx="47">
                  <c:v>89</c:v>
                </c:pt>
                <c:pt idx="48">
                  <c:v>429</c:v>
                </c:pt>
                <c:pt idx="49">
                  <c:v>388</c:v>
                </c:pt>
                <c:pt idx="50">
                  <c:v>582</c:v>
                </c:pt>
                <c:pt idx="51">
                  <c:v>460</c:v>
                </c:pt>
                <c:pt idx="52">
                  <c:v>748</c:v>
                </c:pt>
                <c:pt idx="53">
                  <c:v>414</c:v>
                </c:pt>
                <c:pt idx="54">
                  <c:v>284</c:v>
                </c:pt>
                <c:pt idx="55">
                  <c:v>758</c:v>
                </c:pt>
                <c:pt idx="56">
                  <c:v>917</c:v>
                </c:pt>
                <c:pt idx="57">
                  <c:v>393</c:v>
                </c:pt>
                <c:pt idx="58">
                  <c:v>1003</c:v>
                </c:pt>
                <c:pt idx="59">
                  <c:v>918</c:v>
                </c:pt>
                <c:pt idx="60">
                  <c:v>518</c:v>
                </c:pt>
                <c:pt idx="61">
                  <c:v>328</c:v>
                </c:pt>
                <c:pt idx="62">
                  <c:v>625</c:v>
                </c:pt>
                <c:pt idx="63">
                  <c:v>561</c:v>
                </c:pt>
                <c:pt idx="64">
                  <c:v>750</c:v>
                </c:pt>
                <c:pt idx="65">
                  <c:v>811</c:v>
                </c:pt>
                <c:pt idx="66">
                  <c:v>726</c:v>
                </c:pt>
                <c:pt idx="67">
                  <c:v>330</c:v>
                </c:pt>
                <c:pt idx="68">
                  <c:v>125</c:v>
                </c:pt>
                <c:pt idx="69">
                  <c:v>398</c:v>
                </c:pt>
                <c:pt idx="70">
                  <c:v>587</c:v>
                </c:pt>
                <c:pt idx="71">
                  <c:v>936</c:v>
                </c:pt>
                <c:pt idx="72">
                  <c:v>727</c:v>
                </c:pt>
                <c:pt idx="73">
                  <c:v>684</c:v>
                </c:pt>
                <c:pt idx="74">
                  <c:v>251</c:v>
                </c:pt>
                <c:pt idx="75">
                  <c:v>194</c:v>
                </c:pt>
                <c:pt idx="76">
                  <c:v>556</c:v>
                </c:pt>
                <c:pt idx="77">
                  <c:v>183</c:v>
                </c:pt>
                <c:pt idx="78">
                  <c:v>430</c:v>
                </c:pt>
                <c:pt idx="79">
                  <c:v>394</c:v>
                </c:pt>
                <c:pt idx="80">
                  <c:v>358</c:v>
                </c:pt>
                <c:pt idx="81">
                  <c:v>128</c:v>
                </c:pt>
                <c:pt idx="82">
                  <c:v>108</c:v>
                </c:pt>
                <c:pt idx="83">
                  <c:v>519</c:v>
                </c:pt>
                <c:pt idx="84">
                  <c:v>303</c:v>
                </c:pt>
                <c:pt idx="85">
                  <c:v>216</c:v>
                </c:pt>
                <c:pt idx="86">
                  <c:v>248</c:v>
                </c:pt>
                <c:pt idx="87">
                  <c:v>220</c:v>
                </c:pt>
                <c:pt idx="88">
                  <c:v>101</c:v>
                </c:pt>
                <c:pt idx="89">
                  <c:v>43</c:v>
                </c:pt>
                <c:pt idx="90">
                  <c:v>323</c:v>
                </c:pt>
                <c:pt idx="91">
                  <c:v>208</c:v>
                </c:pt>
                <c:pt idx="92">
                  <c:v>198</c:v>
                </c:pt>
                <c:pt idx="93">
                  <c:v>187</c:v>
                </c:pt>
                <c:pt idx="94">
                  <c:v>229</c:v>
                </c:pt>
                <c:pt idx="95">
                  <c:v>127</c:v>
                </c:pt>
                <c:pt idx="96">
                  <c:v>44</c:v>
                </c:pt>
                <c:pt idx="97">
                  <c:v>263</c:v>
                </c:pt>
                <c:pt idx="98">
                  <c:v>165</c:v>
                </c:pt>
                <c:pt idx="99">
                  <c:v>203</c:v>
                </c:pt>
                <c:pt idx="100">
                  <c:v>143</c:v>
                </c:pt>
                <c:pt idx="101">
                  <c:v>308</c:v>
                </c:pt>
                <c:pt idx="102">
                  <c:v>88</c:v>
                </c:pt>
                <c:pt idx="103">
                  <c:v>66</c:v>
                </c:pt>
                <c:pt idx="104">
                  <c:v>278</c:v>
                </c:pt>
                <c:pt idx="105">
                  <c:v>205</c:v>
                </c:pt>
                <c:pt idx="106">
                  <c:v>194</c:v>
                </c:pt>
                <c:pt idx="107">
                  <c:v>119</c:v>
                </c:pt>
                <c:pt idx="108">
                  <c:v>300</c:v>
                </c:pt>
                <c:pt idx="109">
                  <c:v>87</c:v>
                </c:pt>
                <c:pt idx="110">
                  <c:v>48</c:v>
                </c:pt>
                <c:pt idx="111">
                  <c:v>336</c:v>
                </c:pt>
                <c:pt idx="112">
                  <c:v>284</c:v>
                </c:pt>
                <c:pt idx="113">
                  <c:v>236</c:v>
                </c:pt>
                <c:pt idx="114">
                  <c:v>45</c:v>
                </c:pt>
                <c:pt idx="115">
                  <c:v>115</c:v>
                </c:pt>
                <c:pt idx="116">
                  <c:v>126</c:v>
                </c:pt>
                <c:pt idx="117">
                  <c:v>143</c:v>
                </c:pt>
                <c:pt idx="118">
                  <c:v>354</c:v>
                </c:pt>
                <c:pt idx="119">
                  <c:v>330</c:v>
                </c:pt>
                <c:pt idx="120">
                  <c:v>254</c:v>
                </c:pt>
                <c:pt idx="121">
                  <c:v>217</c:v>
                </c:pt>
                <c:pt idx="122">
                  <c:v>93</c:v>
                </c:pt>
                <c:pt idx="123">
                  <c:v>116</c:v>
                </c:pt>
                <c:pt idx="124">
                  <c:v>76</c:v>
                </c:pt>
                <c:pt idx="125">
                  <c:v>534</c:v>
                </c:pt>
                <c:pt idx="126">
                  <c:v>295</c:v>
                </c:pt>
                <c:pt idx="127">
                  <c:v>275</c:v>
                </c:pt>
                <c:pt idx="128">
                  <c:v>330</c:v>
                </c:pt>
                <c:pt idx="129">
                  <c:v>304</c:v>
                </c:pt>
                <c:pt idx="130">
                  <c:v>109</c:v>
                </c:pt>
                <c:pt idx="131">
                  <c:v>53</c:v>
                </c:pt>
                <c:pt idx="132">
                  <c:v>464</c:v>
                </c:pt>
                <c:pt idx="133">
                  <c:v>221</c:v>
                </c:pt>
                <c:pt idx="134">
                  <c:v>281</c:v>
                </c:pt>
                <c:pt idx="135">
                  <c:v>150</c:v>
                </c:pt>
                <c:pt idx="136">
                  <c:v>150</c:v>
                </c:pt>
                <c:pt idx="137">
                  <c:v>66</c:v>
                </c:pt>
                <c:pt idx="138">
                  <c:v>71</c:v>
                </c:pt>
                <c:pt idx="139">
                  <c:v>284</c:v>
                </c:pt>
                <c:pt idx="140">
                  <c:v>152</c:v>
                </c:pt>
                <c:pt idx="141">
                  <c:v>217</c:v>
                </c:pt>
                <c:pt idx="142">
                  <c:v>164</c:v>
                </c:pt>
                <c:pt idx="143">
                  <c:v>192</c:v>
                </c:pt>
                <c:pt idx="144">
                  <c:v>79</c:v>
                </c:pt>
                <c:pt idx="145">
                  <c:v>35</c:v>
                </c:pt>
                <c:pt idx="146">
                  <c:v>174</c:v>
                </c:pt>
                <c:pt idx="147">
                  <c:v>117</c:v>
                </c:pt>
                <c:pt idx="148">
                  <c:v>152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3</c:v>
                </c:pt>
                <c:pt idx="154">
                  <c:v>161</c:v>
                </c:pt>
                <c:pt idx="155">
                  <c:v>156</c:v>
                </c:pt>
                <c:pt idx="156">
                  <c:v>123</c:v>
                </c:pt>
                <c:pt idx="157">
                  <c:v>130</c:v>
                </c:pt>
                <c:pt idx="158">
                  <c:v>52</c:v>
                </c:pt>
                <c:pt idx="159">
                  <c:v>33</c:v>
                </c:pt>
                <c:pt idx="160">
                  <c:v>131</c:v>
                </c:pt>
                <c:pt idx="161">
                  <c:v>86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99</c:v>
                </c:pt>
                <c:pt idx="168">
                  <c:v>51</c:v>
                </c:pt>
                <c:pt idx="169">
                  <c:v>66</c:v>
                </c:pt>
                <c:pt idx="170">
                  <c:v>55</c:v>
                </c:pt>
                <c:pt idx="171">
                  <c:v>59</c:v>
                </c:pt>
                <c:pt idx="172">
                  <c:v>24</c:v>
                </c:pt>
                <c:pt idx="173">
                  <c:v>23</c:v>
                </c:pt>
                <c:pt idx="174">
                  <c:v>160</c:v>
                </c:pt>
                <c:pt idx="175">
                  <c:v>79</c:v>
                </c:pt>
                <c:pt idx="176">
                  <c:v>68</c:v>
                </c:pt>
                <c:pt idx="177">
                  <c:v>77</c:v>
                </c:pt>
                <c:pt idx="178">
                  <c:v>84</c:v>
                </c:pt>
                <c:pt idx="179">
                  <c:v>18</c:v>
                </c:pt>
                <c:pt idx="180">
                  <c:v>12</c:v>
                </c:pt>
                <c:pt idx="181">
                  <c:v>134</c:v>
                </c:pt>
                <c:pt idx="182">
                  <c:v>66</c:v>
                </c:pt>
                <c:pt idx="183">
                  <c:v>101</c:v>
                </c:pt>
                <c:pt idx="184">
                  <c:v>44</c:v>
                </c:pt>
                <c:pt idx="185">
                  <c:v>50</c:v>
                </c:pt>
                <c:pt idx="186">
                  <c:v>19</c:v>
                </c:pt>
                <c:pt idx="187">
                  <c:v>14</c:v>
                </c:pt>
                <c:pt idx="188">
                  <c:v>86</c:v>
                </c:pt>
                <c:pt idx="189">
                  <c:v>108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1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1</c:v>
                </c:pt>
                <c:pt idx="203">
                  <c:v>47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39</c:v>
                </c:pt>
                <c:pt idx="210">
                  <c:v>23</c:v>
                </c:pt>
                <c:pt idx="211">
                  <c:v>22</c:v>
                </c:pt>
                <c:pt idx="212">
                  <c:v>20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  <c:pt idx="216">
                  <c:v>5</c:v>
                </c:pt>
                <c:pt idx="217">
                  <c:v>25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6</c:v>
                </c:pt>
                <c:pt idx="235">
                  <c:v>2</c:v>
                </c:pt>
                <c:pt idx="236">
                  <c:v>0</c:v>
                </c:pt>
                <c:pt idx="237">
                  <c:v>6</c:v>
                </c:pt>
                <c:pt idx="238">
                  <c:v>8</c:v>
                </c:pt>
                <c:pt idx="239">
                  <c:v>2</c:v>
                </c:pt>
                <c:pt idx="240">
                  <c:v>4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6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1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0</c:v>
                </c:pt>
                <c:pt idx="420">
                  <c:v>14</c:v>
                </c:pt>
                <c:pt idx="421">
                  <c:v>24</c:v>
                </c:pt>
                <c:pt idx="422">
                  <c:v>3</c:v>
                </c:pt>
                <c:pt idx="423">
                  <c:v>26</c:v>
                </c:pt>
                <c:pt idx="424">
                  <c:v>11</c:v>
                </c:pt>
                <c:pt idx="425">
                  <c:v>15</c:v>
                </c:pt>
                <c:pt idx="426">
                  <c:v>62</c:v>
                </c:pt>
                <c:pt idx="427">
                  <c:v>44</c:v>
                </c:pt>
                <c:pt idx="428">
                  <c:v>30</c:v>
                </c:pt>
                <c:pt idx="429">
                  <c:v>63</c:v>
                </c:pt>
                <c:pt idx="430">
                  <c:v>50</c:v>
                </c:pt>
                <c:pt idx="431" formatCode="General">
                  <c:v>25</c:v>
                </c:pt>
                <c:pt idx="432" formatCode="General">
                  <c:v>9</c:v>
                </c:pt>
                <c:pt idx="433" formatCode="General">
                  <c:v>58</c:v>
                </c:pt>
                <c:pt idx="434" formatCode="General">
                  <c:v>64</c:v>
                </c:pt>
                <c:pt idx="435" formatCode="General">
                  <c:v>52</c:v>
                </c:pt>
                <c:pt idx="436" formatCode="General">
                  <c:v>65</c:v>
                </c:pt>
                <c:pt idx="437" formatCode="General">
                  <c:v>53</c:v>
                </c:pt>
                <c:pt idx="438" formatCode="General">
                  <c:v>34</c:v>
                </c:pt>
                <c:pt idx="439" formatCode="General">
                  <c:v>19</c:v>
                </c:pt>
                <c:pt idx="440" formatCode="General">
                  <c:v>72</c:v>
                </c:pt>
                <c:pt idx="441" formatCode="General">
                  <c:v>67</c:v>
                </c:pt>
                <c:pt idx="442" formatCode="General">
                  <c:v>30</c:v>
                </c:pt>
                <c:pt idx="443" formatCode="General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45</c:f>
              <c:numCache>
                <c:formatCode>m/d/yyyy</c:formatCode>
                <c:ptCount val="4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</c:numCache>
            </c:numRef>
          </c:cat>
          <c:val>
            <c:numRef>
              <c:f>Sheet1!$B$2:$B$445</c:f>
              <c:numCache>
                <c:formatCode>#\ ##0_ ;\-#\ ##0\ </c:formatCode>
                <c:ptCount val="4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7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6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2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20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6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1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9</c:v>
                </c:pt>
                <c:pt idx="135">
                  <c:v>24</c:v>
                </c:pt>
                <c:pt idx="136">
                  <c:v>22</c:v>
                </c:pt>
                <c:pt idx="137">
                  <c:v>17</c:v>
                </c:pt>
                <c:pt idx="138">
                  <c:v>19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5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3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6</c:v>
                </c:pt>
                <c:pt idx="440">
                  <c:v>3</c:v>
                </c:pt>
                <c:pt idx="441">
                  <c:v>1</c:v>
                </c:pt>
                <c:pt idx="442">
                  <c:v>2</c:v>
                </c:pt>
                <c:pt idx="44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34</c:f>
              <c:numCache>
                <c:formatCode>m/d/yyyy</c:formatCode>
                <c:ptCount val="333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6</c:v>
                </c:pt>
                <c:pt idx="298">
                  <c:v>44467</c:v>
                </c:pt>
                <c:pt idx="299">
                  <c:v>44468</c:v>
                </c:pt>
                <c:pt idx="300">
                  <c:v>44469</c:v>
                </c:pt>
                <c:pt idx="301">
                  <c:v>44470</c:v>
                </c:pt>
                <c:pt idx="302">
                  <c:v>44471</c:v>
                </c:pt>
                <c:pt idx="303">
                  <c:v>44472</c:v>
                </c:pt>
                <c:pt idx="304">
                  <c:v>44473</c:v>
                </c:pt>
                <c:pt idx="305">
                  <c:v>44474</c:v>
                </c:pt>
                <c:pt idx="306">
                  <c:v>44475</c:v>
                </c:pt>
                <c:pt idx="307">
                  <c:v>44476</c:v>
                </c:pt>
                <c:pt idx="308">
                  <c:v>44477</c:v>
                </c:pt>
                <c:pt idx="309">
                  <c:v>44478</c:v>
                </c:pt>
                <c:pt idx="310">
                  <c:v>44480</c:v>
                </c:pt>
                <c:pt idx="311">
                  <c:v>44481</c:v>
                </c:pt>
                <c:pt idx="312">
                  <c:v>44482</c:v>
                </c:pt>
                <c:pt idx="313">
                  <c:v>44483</c:v>
                </c:pt>
                <c:pt idx="314">
                  <c:v>44484</c:v>
                </c:pt>
                <c:pt idx="315">
                  <c:v>44485</c:v>
                </c:pt>
                <c:pt idx="316">
                  <c:v>44486</c:v>
                </c:pt>
                <c:pt idx="317">
                  <c:v>44487</c:v>
                </c:pt>
                <c:pt idx="318">
                  <c:v>44488</c:v>
                </c:pt>
                <c:pt idx="319">
                  <c:v>44489</c:v>
                </c:pt>
                <c:pt idx="320">
                  <c:v>44490</c:v>
                </c:pt>
                <c:pt idx="321">
                  <c:v>44491</c:v>
                </c:pt>
                <c:pt idx="322">
                  <c:v>44492</c:v>
                </c:pt>
                <c:pt idx="323">
                  <c:v>44493</c:v>
                </c:pt>
                <c:pt idx="324">
                  <c:v>44494</c:v>
                </c:pt>
                <c:pt idx="325">
                  <c:v>44495</c:v>
                </c:pt>
                <c:pt idx="326">
                  <c:v>44496</c:v>
                </c:pt>
                <c:pt idx="327">
                  <c:v>44497</c:v>
                </c:pt>
                <c:pt idx="328">
                  <c:v>44498</c:v>
                </c:pt>
                <c:pt idx="329">
                  <c:v>44499</c:v>
                </c:pt>
                <c:pt idx="330">
                  <c:v>44500</c:v>
                </c:pt>
                <c:pt idx="331">
                  <c:v>44501</c:v>
                </c:pt>
                <c:pt idx="332">
                  <c:v>44502</c:v>
                </c:pt>
              </c:numCache>
            </c:numRef>
          </c:cat>
          <c:val>
            <c:numRef>
              <c:f>Sheet1!$B$2:$B$334</c:f>
              <c:numCache>
                <c:formatCode>General</c:formatCode>
                <c:ptCount val="33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0</c:v>
                </c:pt>
                <c:pt idx="30">
                  <c:v>15</c:v>
                </c:pt>
                <c:pt idx="31">
                  <c:v>8</c:v>
                </c:pt>
                <c:pt idx="32">
                  <c:v>16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0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1</c:v>
                </c:pt>
                <c:pt idx="46">
                  <c:v>61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8</c:v>
                </c:pt>
                <c:pt idx="52">
                  <c:v>42</c:v>
                </c:pt>
                <c:pt idx="53">
                  <c:v>83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2</c:v>
                </c:pt>
                <c:pt idx="58">
                  <c:v>62</c:v>
                </c:pt>
                <c:pt idx="59">
                  <c:v>64</c:v>
                </c:pt>
                <c:pt idx="60">
                  <c:v>76</c:v>
                </c:pt>
                <c:pt idx="61">
                  <c:v>83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1</c:v>
                </c:pt>
                <c:pt idx="66">
                  <c:v>116</c:v>
                </c:pt>
                <c:pt idx="67">
                  <c:v>91</c:v>
                </c:pt>
                <c:pt idx="68">
                  <c:v>75</c:v>
                </c:pt>
                <c:pt idx="69">
                  <c:v>42</c:v>
                </c:pt>
                <c:pt idx="70">
                  <c:v>23</c:v>
                </c:pt>
                <c:pt idx="71">
                  <c:v>64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49</c:v>
                </c:pt>
                <c:pt idx="76">
                  <c:v>18</c:v>
                </c:pt>
                <c:pt idx="77">
                  <c:v>13</c:v>
                </c:pt>
                <c:pt idx="78">
                  <c:v>65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8</c:v>
                </c:pt>
                <c:pt idx="83">
                  <c:v>15</c:v>
                </c:pt>
                <c:pt idx="84">
                  <c:v>13</c:v>
                </c:pt>
                <c:pt idx="85">
                  <c:v>42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6</c:v>
                </c:pt>
                <c:pt idx="90">
                  <c:v>19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2</c:v>
                </c:pt>
                <c:pt idx="95">
                  <c:v>23</c:v>
                </c:pt>
                <c:pt idx="96">
                  <c:v>32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40</c:v>
                </c:pt>
                <c:pt idx="104">
                  <c:v>15</c:v>
                </c:pt>
                <c:pt idx="105">
                  <c:v>6</c:v>
                </c:pt>
                <c:pt idx="106">
                  <c:v>29</c:v>
                </c:pt>
                <c:pt idx="107">
                  <c:v>40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1</c:v>
                </c:pt>
                <c:pt idx="121">
                  <c:v>29</c:v>
                </c:pt>
                <c:pt idx="122">
                  <c:v>40</c:v>
                </c:pt>
                <c:pt idx="123">
                  <c:v>38</c:v>
                </c:pt>
                <c:pt idx="124">
                  <c:v>32</c:v>
                </c:pt>
                <c:pt idx="125">
                  <c:v>15</c:v>
                </c:pt>
                <c:pt idx="126">
                  <c:v>7</c:v>
                </c:pt>
                <c:pt idx="127">
                  <c:v>50</c:v>
                </c:pt>
                <c:pt idx="128">
                  <c:v>24</c:v>
                </c:pt>
                <c:pt idx="129">
                  <c:v>23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2</c:v>
                </c:pt>
                <c:pt idx="142">
                  <c:v>11</c:v>
                </c:pt>
                <c:pt idx="143">
                  <c:v>20</c:v>
                </c:pt>
                <c:pt idx="144">
                  <c:v>11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3</c:v>
                </c:pt>
                <c:pt idx="156">
                  <c:v>14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8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7</c:v>
                </c:pt>
                <c:pt idx="172">
                  <c:v>10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6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6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8</c:v>
                </c:pt>
                <c:pt idx="191">
                  <c:v>9</c:v>
                </c:pt>
                <c:pt idx="192">
                  <c:v>1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6</c:v>
                </c:pt>
                <c:pt idx="198">
                  <c:v>7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3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2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1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2</c:v>
                </c:pt>
                <c:pt idx="282">
                  <c:v>2</c:v>
                </c:pt>
                <c:pt idx="283">
                  <c:v>1</c:v>
                </c:pt>
                <c:pt idx="284">
                  <c:v>0</c:v>
                </c:pt>
                <c:pt idx="285">
                  <c:v>2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1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3</c:v>
                </c:pt>
                <c:pt idx="307">
                  <c:v>1</c:v>
                </c:pt>
                <c:pt idx="308">
                  <c:v>2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3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4</c:v>
                </c:pt>
                <c:pt idx="318">
                  <c:v>0</c:v>
                </c:pt>
                <c:pt idx="319">
                  <c:v>1</c:v>
                </c:pt>
                <c:pt idx="320">
                  <c:v>0</c:v>
                </c:pt>
                <c:pt idx="321">
                  <c:v>2</c:v>
                </c:pt>
                <c:pt idx="322">
                  <c:v>0</c:v>
                </c:pt>
                <c:pt idx="323">
                  <c:v>0</c:v>
                </c:pt>
                <c:pt idx="324">
                  <c:v>4</c:v>
                </c:pt>
                <c:pt idx="325">
                  <c:v>2</c:v>
                </c:pt>
                <c:pt idx="326">
                  <c:v>2</c:v>
                </c:pt>
                <c:pt idx="327">
                  <c:v>0</c:v>
                </c:pt>
                <c:pt idx="328">
                  <c:v>5</c:v>
                </c:pt>
                <c:pt idx="329">
                  <c:v>3</c:v>
                </c:pt>
                <c:pt idx="330">
                  <c:v>2</c:v>
                </c:pt>
                <c:pt idx="331">
                  <c:v>9</c:v>
                </c:pt>
                <c:pt idx="33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E$1</c:f>
              <c:strCache>
                <c:ptCount val="82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</c:strCache>
            </c:strRef>
          </c:cat>
          <c:val>
            <c:numRef>
              <c:f>List1!$B$2:$CE$2</c:f>
              <c:numCache>
                <c:formatCode>General</c:formatCode>
                <c:ptCount val="82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41</c:v>
                </c:pt>
                <c:pt idx="79">
                  <c:v>284</c:v>
                </c:pt>
                <c:pt idx="80">
                  <c:v>86</c:v>
                </c:pt>
                <c:pt idx="81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50</c:f>
              <c:numCache>
                <c:formatCode>m/d/yyyy</c:formatCode>
                <c:ptCount val="349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6</c:v>
                </c:pt>
                <c:pt idx="298">
                  <c:v>44467</c:v>
                </c:pt>
                <c:pt idx="299">
                  <c:v>44468</c:v>
                </c:pt>
                <c:pt idx="300">
                  <c:v>44469</c:v>
                </c:pt>
                <c:pt idx="301">
                  <c:v>44470</c:v>
                </c:pt>
                <c:pt idx="302">
                  <c:v>44471</c:v>
                </c:pt>
                <c:pt idx="303">
                  <c:v>44472</c:v>
                </c:pt>
                <c:pt idx="304">
                  <c:v>44473</c:v>
                </c:pt>
                <c:pt idx="305">
                  <c:v>44474</c:v>
                </c:pt>
                <c:pt idx="306">
                  <c:v>44475</c:v>
                </c:pt>
                <c:pt idx="307">
                  <c:v>44476</c:v>
                </c:pt>
                <c:pt idx="308">
                  <c:v>44477</c:v>
                </c:pt>
                <c:pt idx="309">
                  <c:v>44478</c:v>
                </c:pt>
                <c:pt idx="310">
                  <c:v>44480</c:v>
                </c:pt>
                <c:pt idx="311">
                  <c:v>44481</c:v>
                </c:pt>
                <c:pt idx="312">
                  <c:v>44482</c:v>
                </c:pt>
                <c:pt idx="313">
                  <c:v>44483</c:v>
                </c:pt>
                <c:pt idx="314">
                  <c:v>44484</c:v>
                </c:pt>
                <c:pt idx="315">
                  <c:v>44485</c:v>
                </c:pt>
                <c:pt idx="316">
                  <c:v>44486</c:v>
                </c:pt>
                <c:pt idx="317">
                  <c:v>44487</c:v>
                </c:pt>
                <c:pt idx="318">
                  <c:v>44488</c:v>
                </c:pt>
                <c:pt idx="319">
                  <c:v>44489</c:v>
                </c:pt>
                <c:pt idx="320">
                  <c:v>44490</c:v>
                </c:pt>
                <c:pt idx="321">
                  <c:v>44491</c:v>
                </c:pt>
                <c:pt idx="322">
                  <c:v>44492</c:v>
                </c:pt>
                <c:pt idx="323">
                  <c:v>44493</c:v>
                </c:pt>
                <c:pt idx="324">
                  <c:v>44494</c:v>
                </c:pt>
                <c:pt idx="325">
                  <c:v>44495</c:v>
                </c:pt>
                <c:pt idx="326">
                  <c:v>44496</c:v>
                </c:pt>
                <c:pt idx="327">
                  <c:v>44497</c:v>
                </c:pt>
                <c:pt idx="328">
                  <c:v>44498</c:v>
                </c:pt>
                <c:pt idx="329">
                  <c:v>44499</c:v>
                </c:pt>
                <c:pt idx="330">
                  <c:v>44500</c:v>
                </c:pt>
                <c:pt idx="331">
                  <c:v>44501</c:v>
                </c:pt>
                <c:pt idx="332">
                  <c:v>44502</c:v>
                </c:pt>
                <c:pt idx="333">
                  <c:v>44503</c:v>
                </c:pt>
                <c:pt idx="334">
                  <c:v>44504</c:v>
                </c:pt>
                <c:pt idx="335">
                  <c:v>44505</c:v>
                </c:pt>
                <c:pt idx="336">
                  <c:v>44506</c:v>
                </c:pt>
                <c:pt idx="337">
                  <c:v>44507</c:v>
                </c:pt>
                <c:pt idx="338">
                  <c:v>44508</c:v>
                </c:pt>
                <c:pt idx="339">
                  <c:v>44509</c:v>
                </c:pt>
                <c:pt idx="340">
                  <c:v>44510</c:v>
                </c:pt>
                <c:pt idx="341">
                  <c:v>44511</c:v>
                </c:pt>
                <c:pt idx="342">
                  <c:v>44512</c:v>
                </c:pt>
                <c:pt idx="343">
                  <c:v>44513</c:v>
                </c:pt>
                <c:pt idx="344">
                  <c:v>44514</c:v>
                </c:pt>
                <c:pt idx="345">
                  <c:v>44515</c:v>
                </c:pt>
                <c:pt idx="346">
                  <c:v>44516</c:v>
                </c:pt>
                <c:pt idx="347">
                  <c:v>44517</c:v>
                </c:pt>
                <c:pt idx="348">
                  <c:v>44518</c:v>
                </c:pt>
              </c:numCache>
            </c:numRef>
          </c:cat>
          <c:val>
            <c:numRef>
              <c:f>Sheet1!$B$2:$B$350</c:f>
              <c:numCache>
                <c:formatCode>General</c:formatCode>
                <c:ptCount val="3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2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7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8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3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8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8</c:v>
                </c:pt>
                <c:pt idx="142">
                  <c:v>1</c:v>
                </c:pt>
                <c:pt idx="143">
                  <c:v>1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1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3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0</c:v>
                </c:pt>
                <c:pt idx="324">
                  <c:v>1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1</c:v>
                </c:pt>
                <c:pt idx="329">
                  <c:v>0</c:v>
                </c:pt>
                <c:pt idx="330">
                  <c:v>1</c:v>
                </c:pt>
                <c:pt idx="331">
                  <c:v>1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3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1</c:v>
                </c:pt>
                <c:pt idx="344">
                  <c:v>1</c:v>
                </c:pt>
                <c:pt idx="345">
                  <c:v>0</c:v>
                </c:pt>
                <c:pt idx="346">
                  <c:v>1</c:v>
                </c:pt>
                <c:pt idx="347">
                  <c:v>0</c:v>
                </c:pt>
                <c:pt idx="34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4</c:v>
                </c:pt>
                <c:pt idx="1">
                  <c:v>86</c:v>
                </c:pt>
                <c:pt idx="2">
                  <c:v>64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8557996186695223</c:v>
                </c:pt>
                <c:pt idx="1">
                  <c:v>0.21442003813304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0.150421348506339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4758194039616912</c:v>
                </c:pt>
                <c:pt idx="1">
                  <c:v>0.35241805960383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2105716947809029</c:v>
                </c:pt>
                <c:pt idx="1">
                  <c:v>0.27894283052190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5899999999999999</c:v>
                </c:pt>
                <c:pt idx="1">
                  <c:v>0.140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chart" Target="../charts/chart7.xml"/><Relationship Id="rId5" Type="http://schemas.openxmlformats.org/officeDocument/2006/relationships/tags" Target="../tags/tag13.xml"/><Relationship Id="rId10" Type="http://schemas.openxmlformats.org/officeDocument/2006/relationships/chart" Target="../charts/chart6.xml"/><Relationship Id="rId4" Type="http://schemas.openxmlformats.org/officeDocument/2006/relationships/tags" Target="../tags/tag12.xml"/><Relationship Id="rId9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chart" Target="../charts/chart10.xml"/><Relationship Id="rId4" Type="http://schemas.openxmlformats.org/officeDocument/2006/relationships/tags" Target="../tags/tag19.xml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72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78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25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 </a:t>
            </a:r>
            <a:r>
              <a:rPr lang="cs-CZ" dirty="0"/>
              <a:t>24</a:t>
            </a:r>
            <a:r>
              <a:rPr lang="en-US" dirty="0"/>
              <a:t>.1.2020 </a:t>
            </a:r>
            <a:r>
              <a:rPr lang="en-US" dirty="0" err="1"/>
              <a:t>bylo</a:t>
            </a:r>
            <a:r>
              <a:rPr lang="en-US" dirty="0"/>
              <a:t> v </a:t>
            </a:r>
            <a:r>
              <a:rPr lang="en-US" dirty="0" err="1"/>
              <a:t>dat</a:t>
            </a:r>
            <a:r>
              <a:rPr lang="cs-CZ" dirty="0" err="1"/>
              <a:t>abázi</a:t>
            </a:r>
            <a:r>
              <a:rPr lang="cs-CZ" dirty="0"/>
              <a:t> MPSV vedeno 4 160 zařízení  s 77 547 klienty a 102 575 pracovníky (Tyto údaje nejsou u všech zařízení zadány). Z tohoto počtu jich zadává do sociálního modulu ISIN 1 724 zařízení</a:t>
            </a:r>
            <a:r>
              <a:rPr lang="en-US" dirty="0"/>
              <a:t>. Z</a:t>
            </a:r>
            <a:r>
              <a:rPr lang="sk-SK" dirty="0"/>
              <a:t> </a:t>
            </a:r>
            <a:r>
              <a:rPr lang="en-US" dirty="0" err="1"/>
              <a:t>hlediska</a:t>
            </a:r>
            <a:r>
              <a:rPr lang="en-US" dirty="0"/>
              <a:t> </a:t>
            </a:r>
            <a:r>
              <a:rPr lang="en-US" dirty="0" err="1"/>
              <a:t>osob</a:t>
            </a:r>
            <a:r>
              <a:rPr lang="en-US" dirty="0"/>
              <a:t> je </a:t>
            </a:r>
            <a:r>
              <a:rPr lang="en-US" dirty="0" err="1"/>
              <a:t>pokryt</a:t>
            </a:r>
            <a:r>
              <a:rPr lang="cs-CZ" dirty="0"/>
              <a:t>í</a:t>
            </a:r>
            <a:r>
              <a:rPr lang="en-US" dirty="0"/>
              <a:t> </a:t>
            </a:r>
            <a:r>
              <a:rPr lang="cs-CZ" dirty="0"/>
              <a:t>81,78</a:t>
            </a:r>
            <a:r>
              <a:rPr lang="en-US" dirty="0"/>
              <a:t>%</a:t>
            </a:r>
            <a:r>
              <a:rPr lang="cs-CZ" dirty="0"/>
              <a:t>.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Zadávají</a:t>
            </a:r>
          </a:p>
          <a:p>
            <a:endParaRPr lang="cs-CZ" sz="1600" dirty="0"/>
          </a:p>
          <a:p>
            <a:r>
              <a:rPr lang="cs-CZ" sz="1600" dirty="0"/>
              <a:t>Nezadávají</a:t>
            </a:r>
          </a:p>
          <a:p>
            <a:r>
              <a:rPr lang="cs-CZ" sz="1600" dirty="0"/>
              <a:t>do sociálního </a:t>
            </a:r>
          </a:p>
          <a:p>
            <a:r>
              <a:rPr lang="cs-CZ" sz="1600" dirty="0"/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15462967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Nakaženo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69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1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1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4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celke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69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1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Ostatní</a:t>
            </a:r>
          </a:p>
          <a:p>
            <a:endParaRPr lang="cs-CZ" sz="1600" dirty="0"/>
          </a:p>
          <a:p>
            <a:r>
              <a:rPr lang="cs-CZ" sz="1600" dirty="0"/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11504588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/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Ostatní </a:t>
            </a:r>
            <a:br>
              <a:rPr lang="cs-CZ" sz="1600" dirty="0"/>
            </a:br>
            <a:r>
              <a:rPr lang="cs-CZ" sz="1600" dirty="0"/>
              <a:t>pozitivní</a:t>
            </a:r>
          </a:p>
          <a:p>
            <a:endParaRPr lang="cs-CZ" sz="1600" dirty="0"/>
          </a:p>
          <a:p>
            <a:endParaRPr lang="cs-CZ" sz="1600" dirty="0"/>
          </a:p>
          <a:p>
            <a:r>
              <a:rPr lang="cs-CZ" sz="1600" dirty="0"/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Nakažení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</a:t>
                      </a:r>
                    </a:p>
                  </a:txBody>
                  <a:tcPr anchor="ctr">
                    <a:lnL w="12700" cmpd="sng">
                      <a:noFill/>
                    </a:lnL>
                    <a:lnB w="38100" cmpd="sng">
                      <a:noFill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9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1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87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32566569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3969771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</p:spTree>
    <p:extLst>
      <p:ext uri="{BB962C8B-B14F-4D97-AF65-F5344CB8AC3E}">
        <p14:creationId xmlns:p14="http://schemas.microsoft.com/office/powerpoint/2010/main" val="33822800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285886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3802081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784143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do 18.11.</a:t>
                      </a:r>
                      <a:endParaRPr kumimoji="0" lang="cs-CZ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5974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615443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r>
                        <a:rPr lang="cs-CZ" sz="700" dirty="0"/>
                        <a:t>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do 18.11.</a:t>
                      </a:r>
                      <a:endParaRPr kumimoji="0" lang="cs-CZ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241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9250908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507914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712116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tu nákaz (a ohnisek) v sociálních zařízeních. Jde ale o počty, které jsou velmi významně nižší ve srovnání např. s jarem 2021. KHS identifikovaly za říjen 15 ohnisek v sociálních zařízeních (celkem 158 nakažených osob) a za listopad 33 ohnisek s celkem 434 dosud zařazenými nakaženými osobami. </a:t>
            </a: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sporadick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4647999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B4A9764-420D-4270-813A-A2659578D5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579272"/>
              </p:ext>
            </p:extLst>
          </p:nvPr>
        </p:nvGraphicFramePr>
        <p:xfrm>
          <a:off x="7429498" y="5737704"/>
          <a:ext cx="4564864" cy="731520"/>
        </p:xfrm>
        <a:graphic>
          <a:graphicData uri="http://schemas.openxmlformats.org/drawingml/2006/table">
            <a:tbl>
              <a:tblPr/>
              <a:tblGrid>
                <a:gridCol w="240256">
                  <a:extLst>
                    <a:ext uri="{9D8B030D-6E8A-4147-A177-3AD203B41FA5}">
                      <a16:colId xmlns:a16="http://schemas.microsoft.com/office/drawing/2014/main" val="287519249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417750643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31318891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091118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82939075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70662169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73537815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79710918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16560730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876595989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424372264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8185932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837682639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53599917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50295729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5614106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64032987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57161886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985824422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621865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04810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5229278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1/2021 k 18. 1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8. 1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199734"/>
              </p:ext>
            </p:extLst>
          </p:nvPr>
        </p:nvGraphicFramePr>
        <p:xfrm>
          <a:off x="47625" y="989354"/>
          <a:ext cx="6437723" cy="5411447"/>
        </p:xfrm>
        <a:graphic>
          <a:graphicData uri="http://schemas.openxmlformats.org/drawingml/2006/table">
            <a:tbl>
              <a:tblPr/>
              <a:tblGrid>
                <a:gridCol w="63597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 </a:t>
                      </a:r>
                    </a:p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8. 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F47F7B72-D60A-47E0-80A6-9D6EA87512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976901"/>
              </p:ext>
            </p:extLst>
          </p:nvPr>
        </p:nvGraphicFramePr>
        <p:xfrm>
          <a:off x="7429499" y="1185432"/>
          <a:ext cx="4564864" cy="539260"/>
        </p:xfrm>
        <a:graphic>
          <a:graphicData uri="http://schemas.openxmlformats.org/drawingml/2006/table">
            <a:tbl>
              <a:tblPr/>
              <a:tblGrid>
                <a:gridCol w="240256">
                  <a:extLst>
                    <a:ext uri="{9D8B030D-6E8A-4147-A177-3AD203B41FA5}">
                      <a16:colId xmlns:a16="http://schemas.microsoft.com/office/drawing/2014/main" val="2870736139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00458668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21826159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16656955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09640539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58425970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93451179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16295544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07435509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15675037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3726173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55328891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425855010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21369946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84804800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412185397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65105784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70719738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263937444"/>
                    </a:ext>
                  </a:extLst>
                </a:gridCol>
              </a:tblGrid>
              <a:tr h="131750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6404816"/>
                  </a:ext>
                </a:extLst>
              </a:tr>
              <a:tr h="3782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332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97DF6F9-92B9-4B5C-B85D-45943BE0675A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80670529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8777716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2688169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84044954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25927397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73236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390600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758354-D00D-4C03-9E6B-2343485F12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7624548"/>
              </p:ext>
            </p:extLst>
          </p:nvPr>
        </p:nvGraphicFramePr>
        <p:xfrm>
          <a:off x="1003518" y="5723959"/>
          <a:ext cx="10913954" cy="731520"/>
        </p:xfrm>
        <a:graphic>
          <a:graphicData uri="http://schemas.openxmlformats.org/drawingml/2006/table">
            <a:tbl>
              <a:tblPr/>
              <a:tblGrid>
                <a:gridCol w="133097">
                  <a:extLst>
                    <a:ext uri="{9D8B030D-6E8A-4147-A177-3AD203B41FA5}">
                      <a16:colId xmlns:a16="http://schemas.microsoft.com/office/drawing/2014/main" val="302351579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65604554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37568463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66341725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6779423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77179209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09254872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88812981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79955529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15212682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87199283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91801309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34063551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53446373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39742862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46359302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57870273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66626233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80403358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5556508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51358436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74987634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51793845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424927386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89003488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80505099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351915836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62760125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2585498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82976374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56764988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413729592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60003908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38635864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2035983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01219795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99810666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64665237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41913758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06134954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63854038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48777814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2260551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24026979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75000956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99597673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03615364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19402099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47671259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4913337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61323220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90868443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77780724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411781920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02287715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67791868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5900954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157796333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7821735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27056958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61650073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87716149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403622751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36287399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030332964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35303964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42041188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498416222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35975628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41427905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42357441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79194097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07033688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24623143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34644897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684999031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426375369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1804496626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683857128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621315987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3267353655"/>
                    </a:ext>
                  </a:extLst>
                </a:gridCol>
                <a:gridCol w="133097">
                  <a:extLst>
                    <a:ext uri="{9D8B030D-6E8A-4147-A177-3AD203B41FA5}">
                      <a16:colId xmlns:a16="http://schemas.microsoft.com/office/drawing/2014/main" val="223005079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57221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1253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092391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8703A411-2351-4013-83CF-0C13C30C07DA}"/>
              </a:ext>
            </a:extLst>
          </p:cNvPr>
          <p:cNvSpPr/>
          <p:nvPr/>
        </p:nvSpPr>
        <p:spPr>
          <a:xfrm>
            <a:off x="11725082" y="5984104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3E6CB076-A534-407B-818A-8C31DD33640D}"/>
              </a:ext>
            </a:extLst>
          </p:cNvPr>
          <p:cNvSpPr/>
          <p:nvPr/>
        </p:nvSpPr>
        <p:spPr>
          <a:xfrm>
            <a:off x="10549790" y="3393200"/>
            <a:ext cx="13676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200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131364E-553B-4C2F-8466-03694FBBBF95}"/>
              </a:ext>
            </a:extLst>
          </p:cNvPr>
          <p:cNvSpPr/>
          <p:nvPr/>
        </p:nvSpPr>
        <p:spPr>
          <a:xfrm>
            <a:off x="11748567" y="4281580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873E18AB-98ED-4BCC-B394-159F207B4A6F}"/>
              </a:ext>
            </a:extLst>
          </p:cNvPr>
          <p:cNvGraphicFramePr>
            <a:graphicFrameLocks noGrp="1"/>
          </p:cNvGraphicFramePr>
          <p:nvPr/>
        </p:nvGraphicFramePr>
        <p:xfrm>
          <a:off x="8656276" y="901702"/>
          <a:ext cx="944924" cy="5614806"/>
        </p:xfrm>
        <a:graphic>
          <a:graphicData uri="http://schemas.openxmlformats.org/drawingml/2006/table">
            <a:tbl>
              <a:tblPr/>
              <a:tblGrid>
                <a:gridCol w="944924">
                  <a:extLst>
                    <a:ext uri="{9D8B030D-6E8A-4147-A177-3AD203B41FA5}">
                      <a16:colId xmlns:a16="http://schemas.microsoft.com/office/drawing/2014/main" val="3357425723"/>
                    </a:ext>
                  </a:extLst>
                </a:gridCol>
              </a:tblGrid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37184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88653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43695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82780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13931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81896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07188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84086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48851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415567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8995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24599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1540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68637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55834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51537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91456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51301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896360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19902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62536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9334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7626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96236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747428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32946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739358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15087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66139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11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/>
        </p:nvGraphicFramePr>
        <p:xfrm>
          <a:off x="1093233" y="681680"/>
          <a:ext cx="8958646" cy="583484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412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8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 6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85965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1564250-78EF-4E28-882D-B8474335BAB7}"/>
              </a:ext>
            </a:extLst>
          </p:cNvPr>
          <p:cNvGraphicFramePr>
            <a:graphicFrameLocks noGrp="1"/>
          </p:cNvGraphicFramePr>
          <p:nvPr/>
        </p:nvGraphicFramePr>
        <p:xfrm>
          <a:off x="8666752" y="1092199"/>
          <a:ext cx="953498" cy="5424328"/>
        </p:xfrm>
        <a:graphic>
          <a:graphicData uri="http://schemas.openxmlformats.org/drawingml/2006/table">
            <a:tbl>
              <a:tblPr/>
              <a:tblGrid>
                <a:gridCol w="953498">
                  <a:extLst>
                    <a:ext uri="{9D8B030D-6E8A-4147-A177-3AD203B41FA5}">
                      <a16:colId xmlns:a16="http://schemas.microsoft.com/office/drawing/2014/main" val="1928152381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36622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25898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12171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85744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46733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1194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7462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97324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98847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6539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332559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87582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13996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54231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30787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117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26319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0156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29466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02462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82619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74077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39601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14899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53033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942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19958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04353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11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/>
        </p:nvGraphicFramePr>
        <p:xfrm>
          <a:off x="1104900" y="660914"/>
          <a:ext cx="8958646" cy="5860965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088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328 (9 74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7 (96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95 (7 67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2 (80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 976 (5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7 (4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0 (28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9 (83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4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41 (13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6 (5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4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5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814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63327370-D762-4516-B0D5-A73C83877A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3187206"/>
              </p:ext>
            </p:extLst>
          </p:nvPr>
        </p:nvGraphicFramePr>
        <p:xfrm>
          <a:off x="7362824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06625674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5127142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9813643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33543491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53438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13493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470771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8. 11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 k 18. 11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93118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920995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BAE1A52-4750-4BC3-912D-70154DAF6174}"/>
              </a:ext>
            </a:extLst>
          </p:cNvPr>
          <p:cNvSpPr/>
          <p:nvPr/>
        </p:nvSpPr>
        <p:spPr>
          <a:xfrm>
            <a:off x="10359541" y="1607162"/>
            <a:ext cx="15579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400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20CE13C-8026-45B6-BDF5-CAEF0DC0608D}"/>
              </a:ext>
            </a:extLst>
          </p:cNvPr>
          <p:cNvSpPr/>
          <p:nvPr/>
        </p:nvSpPr>
        <p:spPr>
          <a:xfrm>
            <a:off x="9502929" y="3721712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15B5475-423B-4202-A225-095C6040464C}"/>
              </a:ext>
            </a:extLst>
          </p:cNvPr>
          <p:cNvSpPr/>
          <p:nvPr/>
        </p:nvSpPr>
        <p:spPr>
          <a:xfrm>
            <a:off x="9502929" y="5856835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3699466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8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8. 11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09673"/>
          <a:ext cx="9684753" cy="550316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ičk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928349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94050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86330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5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Individuálně hlášené případy 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97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28600" y="434210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Hlášení šíření nákazy v pobytových sociálních službách je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 ze strany poskytovatelů reprezentativní, celý systém dosahuje více než 81% pokrytí tohoto segmentu péče. Za celé období sledování od podzimu 2020 bylo registrováno </a:t>
            </a:r>
            <a:r>
              <a:rPr lang="cs-CZ" sz="2400" b="1" dirty="0">
                <a:latin typeface="Calibri" panose="020F0502020204030204"/>
              </a:rPr>
              <a:t>téměř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 </a:t>
            </a:r>
            <a:r>
              <a:rPr lang="cs-CZ" sz="2400" b="1" dirty="0">
                <a:latin typeface="Calibri" panose="020F0502020204030204"/>
              </a:rPr>
              <a:t>23 700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nakažených klientů a více než </a:t>
            </a:r>
            <a:r>
              <a:rPr lang="cs-CZ" sz="2400" b="1" dirty="0">
                <a:latin typeface="Calibri" panose="020F0502020204030204"/>
              </a:rPr>
              <a:t>16 400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nakažených pracovníků. Hlášení o úmrtích COVID pozitivních klientů přesáhlo </a:t>
            </a:r>
            <a:r>
              <a:rPr lang="cs-CZ" sz="2400" b="1" dirty="0">
                <a:latin typeface="Calibri" panose="020F0502020204030204"/>
              </a:rPr>
              <a:t>3 340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, pracovníků zemřelo 18. </a:t>
            </a:r>
            <a:endParaRPr lang="cs-CZ" sz="2400" dirty="0"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44420" y="2638833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155170" y="3951344"/>
            <a:ext cx="114738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 listopadu je z těchto individuálních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hlášení patrný nárůst počtu nakažených ve srovnání s říjnem 2021. Tato data tedy nezávisle potvrzují nálezy zjištěné epidemiologickými šetřeními ze strany KHS. Za měsíc listopad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bylo dosud nahlášeno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478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nákaz pracovníků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a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373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ákaz klientů pobytových sociálních služeb. Počet hlášených úmrtí dosáhnul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 listopadu hodnoty 56. Ačkoli je o nárůst, stále se jedná o počty významně nižší než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 jarních měsících 2021. </a:t>
            </a:r>
            <a:endParaRPr lang="cs-CZ" sz="24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8886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7880</TotalTime>
  <Words>13379</Words>
  <Application>Microsoft Office PowerPoint</Application>
  <PresentationFormat>Širokoúhlá obrazovka</PresentationFormat>
  <Paragraphs>5801</Paragraphs>
  <Slides>5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4</vt:i4>
      </vt:variant>
    </vt:vector>
  </HeadingPairs>
  <TitlesOfParts>
    <vt:vector size="58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484</cp:revision>
  <dcterms:created xsi:type="dcterms:W3CDTF">2020-11-14T10:09:00Z</dcterms:created>
  <dcterms:modified xsi:type="dcterms:W3CDTF">2021-11-21T18:25:08Z</dcterms:modified>
</cp:coreProperties>
</file>